
<file path=[Content_Types].xml><?xml version="1.0" encoding="utf-8"?>
<Types xmlns="http://schemas.openxmlformats.org/package/2006/content-types">
  <Default Extension="png" ContentType="image/png"/>
  <Default Extension="bin" ContentType="image/unknown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2"/>
  </p:notesMasterIdLst>
  <p:sldIdLst>
    <p:sldId id="260" r:id="rId5"/>
    <p:sldId id="261" r:id="rId6"/>
    <p:sldId id="262" r:id="rId7"/>
    <p:sldId id="263" r:id="rId8"/>
    <p:sldId id="264" r:id="rId9"/>
    <p:sldId id="265" r:id="rId10"/>
    <p:sldId id="266" r:id="rId11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1DA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6" autoAdjust="0"/>
    <p:restoredTop sz="94658"/>
  </p:normalViewPr>
  <p:slideViewPr>
    <p:cSldViewPr snapToGrid="0">
      <p:cViewPr>
        <p:scale>
          <a:sx n="120" d="100"/>
          <a:sy n="120" d="100"/>
        </p:scale>
        <p:origin x="475" y="26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H:\Progetti\MICS\Fase%20attuativa\Futuro\CNR\Schede%20progetti%20finale\Grafici%20pubblicazioni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\\Users\MarcoSpaltini\Dropbox%20(DIG)\PNRR%20PE-MG\Ricerca%20industriale\Ricerca%20settori%20italia%202021%20v.2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file:///\\Users\MarcoSpaltini\Dropbox%20(DIG)\PNRR%20PE-MG\Ricerca%20industriale\Ricerca%20settori%20italia%202021%20v.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777712920671907E-2"/>
          <c:y val="1.6550065904092071E-2"/>
          <c:w val="0.93993998885022156"/>
          <c:h val="0.3863041781939419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07B-45B8-8E14-924699362672}"/>
              </c:ext>
            </c:extLst>
          </c:dPt>
          <c:dPt>
            <c:idx val="1"/>
            <c:invertIfNegative val="0"/>
            <c:bubble3D val="0"/>
            <c:spPr>
              <a:solidFill>
                <a:srgbClr val="FF4F4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07B-45B8-8E14-924699362672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07B-45B8-8E14-924699362672}"/>
              </c:ext>
            </c:extLst>
          </c:dPt>
          <c:dPt>
            <c:idx val="3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07B-45B8-8E14-924699362672}"/>
              </c:ext>
            </c:extLst>
          </c:dPt>
          <c:dPt>
            <c:idx val="4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07B-45B8-8E14-924699362672}"/>
              </c:ext>
            </c:extLst>
          </c:dPt>
          <c:dPt>
            <c:idx val="5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07B-45B8-8E14-924699362672}"/>
              </c:ext>
            </c:extLst>
          </c:dPt>
          <c:dPt>
            <c:idx val="6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07B-45B8-8E14-924699362672}"/>
              </c:ext>
            </c:extLst>
          </c:dPt>
          <c:dPt>
            <c:idx val="7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07B-45B8-8E14-924699362672}"/>
              </c:ext>
            </c:extLst>
          </c:dPt>
          <c:dPt>
            <c:idx val="8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07B-45B8-8E14-924699362672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807B-45B8-8E14-92469936267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807B-45B8-8E14-924699362672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807B-45B8-8E14-924699362672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807B-45B8-8E14-924699362672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807B-45B8-8E14-924699362672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807B-45B8-8E14-924699362672}"/>
              </c:ext>
            </c:extLst>
          </c:dPt>
          <c:dPt>
            <c:idx val="2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807B-45B8-8E14-924699362672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1-807B-45B8-8E14-924699362672}"/>
              </c:ext>
            </c:extLst>
          </c:dPt>
          <c:dPt>
            <c:idx val="22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3-807B-45B8-8E14-924699362672}"/>
              </c:ext>
            </c:extLst>
          </c:dPt>
          <c:dPt>
            <c:idx val="23"/>
            <c:invertIfNegative val="0"/>
            <c:bubble3D val="0"/>
            <c:spPr>
              <a:solidFill>
                <a:schemeClr val="bg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5-807B-45B8-8E14-924699362672}"/>
              </c:ext>
            </c:extLst>
          </c:dPt>
          <c:dPt>
            <c:idx val="2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7-807B-45B8-8E14-924699362672}"/>
              </c:ext>
            </c:extLst>
          </c:dPt>
          <c:dPt>
            <c:idx val="2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9-807B-45B8-8E14-924699362672}"/>
              </c:ext>
            </c:extLst>
          </c:dPt>
          <c:dPt>
            <c:idx val="26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B-807B-45B8-8E14-924699362672}"/>
              </c:ext>
            </c:extLst>
          </c:dPt>
          <c:dPt>
            <c:idx val="2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D-807B-45B8-8E14-924699362672}"/>
              </c:ext>
            </c:extLst>
          </c:dPt>
          <c:dPt>
            <c:idx val="28"/>
            <c:invertIfNegative val="0"/>
            <c:bubble3D val="0"/>
            <c:spPr>
              <a:solidFill>
                <a:srgbClr val="FFC0C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F-807B-45B8-8E14-924699362672}"/>
              </c:ext>
            </c:extLst>
          </c:dPt>
          <c:dPt>
            <c:idx val="29"/>
            <c:invertIfNegative val="0"/>
            <c:bubble3D val="0"/>
            <c:spPr>
              <a:solidFill>
                <a:srgbClr val="FFC0C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1-807B-45B8-8E14-924699362672}"/>
              </c:ext>
            </c:extLst>
          </c:dPt>
          <c:dPt>
            <c:idx val="30"/>
            <c:invertIfNegative val="0"/>
            <c:bubble3D val="0"/>
            <c:spPr>
              <a:solidFill>
                <a:srgbClr val="FFC0C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3-807B-45B8-8E14-924699362672}"/>
              </c:ext>
            </c:extLst>
          </c:dPt>
          <c:dPt>
            <c:idx val="3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5-807B-45B8-8E14-924699362672}"/>
              </c:ext>
            </c:extLst>
          </c:dPt>
          <c:dPt>
            <c:idx val="32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7-807B-45B8-8E14-924699362672}"/>
              </c:ext>
            </c:extLst>
          </c:dPt>
          <c:dPt>
            <c:idx val="3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9-807B-45B8-8E14-924699362672}"/>
              </c:ext>
            </c:extLst>
          </c:dPt>
          <c:dPt>
            <c:idx val="3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B-807B-45B8-8E14-924699362672}"/>
              </c:ext>
            </c:extLst>
          </c:dPt>
          <c:dPt>
            <c:idx val="35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D-807B-45B8-8E14-924699362672}"/>
              </c:ext>
            </c:extLst>
          </c:dPt>
          <c:dPt>
            <c:idx val="36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F-807B-45B8-8E14-924699362672}"/>
              </c:ext>
            </c:extLst>
          </c:dPt>
          <c:dPt>
            <c:idx val="37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1-807B-45B8-8E14-924699362672}"/>
              </c:ext>
            </c:extLst>
          </c:dPt>
          <c:dPt>
            <c:idx val="38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3-807B-45B8-8E14-924699362672}"/>
              </c:ext>
            </c:extLst>
          </c:dPt>
          <c:dPt>
            <c:idx val="39"/>
            <c:invertIfNegative val="0"/>
            <c:bubble3D val="0"/>
            <c:spPr>
              <a:solidFill>
                <a:srgbClr val="D2CD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5-807B-45B8-8E14-924699362672}"/>
              </c:ext>
            </c:extLst>
          </c:dPt>
          <c:dPt>
            <c:idx val="40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7-807B-45B8-8E14-924699362672}"/>
              </c:ext>
            </c:extLst>
          </c:dPt>
          <c:dPt>
            <c:idx val="4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9-807B-45B8-8E14-924699362672}"/>
              </c:ext>
            </c:extLst>
          </c:dPt>
          <c:cat>
            <c:strRef>
              <c:f>'Ambiti disciplinari'!$B$22:$B$403</c:f>
              <c:strCache>
                <c:ptCount val="42"/>
                <c:pt idx="0">
                  <c:v>PE1_21 Application of mathematics in sciences</c:v>
                </c:pt>
                <c:pt idx="1">
                  <c:v>PE2_12 Optics, non-linear optics and nano-optics</c:v>
                </c:pt>
                <c:pt idx="2">
                  <c:v>PE3_1 Structure of solids, material growth and characterization</c:v>
                </c:pt>
                <c:pt idx="3">
                  <c:v>PE3_4 Electronic properties of materials, surfaces, interfaces, nanostructures</c:v>
                </c:pt>
                <c:pt idx="4">
                  <c:v>PE3_5 Physical properties of semiconductors and insulators</c:v>
                </c:pt>
                <c:pt idx="5">
                  <c:v>PE3_10 Nanophysics, e.g. nanoelectronics, nanophotonics, nanomagnetism, nanoelectromechanics</c:v>
                </c:pt>
                <c:pt idx="6">
                  <c:v>PE3_16 Physics of biological systems</c:v>
                </c:pt>
                <c:pt idx="7">
                  <c:v>PE3_CNR_1 Computational physics, modeling and simulation of matter, materials and biosystems</c:v>
                </c:pt>
                <c:pt idx="8">
                  <c:v>PE3_CNR_2 Physics for cultural heritage and environment</c:v>
                </c:pt>
                <c:pt idx="9">
                  <c:v>PE4_2 Spectroscopic and spectrometric techniques</c:v>
                </c:pt>
                <c:pt idx="10">
                  <c:v>PE4_4 Surface science and nanostructures</c:v>
                </c:pt>
                <c:pt idx="11">
                  <c:v>PE4_8 Electrochemistry, electrodialysis, microfluidics, sensors</c:v>
                </c:pt>
                <c:pt idx="12">
                  <c:v>PE4_10 Heterogeneous catalysis</c:v>
                </c:pt>
                <c:pt idx="13">
                  <c:v>PE4_18 Environment chemistry</c:v>
                </c:pt>
                <c:pt idx="14">
                  <c:v>PE5_1 Structural properties and characterization of materials</c:v>
                </c:pt>
                <c:pt idx="15">
                  <c:v>PE5_6 New materials: oxides, alloys, composite, organic-inorganic hybrid, nanoparticles</c:v>
                </c:pt>
                <c:pt idx="16">
                  <c:v>PE5_7 Biomaterials synthesis</c:v>
                </c:pt>
                <c:pt idx="17">
                  <c:v>PE5_8 Intelligent materials synthesis – self assembled materials</c:v>
                </c:pt>
                <c:pt idx="18">
                  <c:v>PE5_15 Polymer chemistry</c:v>
                </c:pt>
                <c:pt idx="19">
                  <c:v>PE5_16 Supramolecular chemistry</c:v>
                </c:pt>
                <c:pt idx="20">
                  <c:v>PE5_17 Organic and bioorganic chemistry</c:v>
                </c:pt>
                <c:pt idx="21">
                  <c:v>PE5_CNR_1 Green chemistry and circular economy</c:v>
                </c:pt>
                <c:pt idx="22">
                  <c:v>PE6_12 Scientific computing, simulation and modelling tools</c:v>
                </c:pt>
                <c:pt idx="23">
                  <c:v>PE7_5 (Micro-, nano- and bio-) electronic, optoelectronic and photonic components</c:v>
                </c:pt>
                <c:pt idx="24">
                  <c:v>PE8_2 Chemical engineering, technical chemistry</c:v>
                </c:pt>
                <c:pt idx="25">
                  <c:v>PE8_6 Energy processes engineering</c:v>
                </c:pt>
                <c:pt idx="26">
                  <c:v>PE8_10 Manufacturing engineering and industrial design</c:v>
                </c:pt>
                <c:pt idx="27">
                  <c:v>PE8_11 Environmental engineering, e.g. sustainable design, waste and water treatment, recycling, regeneration or recovery of compounds, carbon capture &amp; storage</c:v>
                </c:pt>
                <c:pt idx="28">
                  <c:v>PE10_3 Climatology and climate change</c:v>
                </c:pt>
                <c:pt idx="29">
                  <c:v>PE10_5 Geology, tectonics, volcanology</c:v>
                </c:pt>
                <c:pt idx="30">
                  <c:v>PE10_11 Geochemistry, cosmochemistry, crystal chemistry, isotope geochemistry, thermodynamics</c:v>
                </c:pt>
                <c:pt idx="31">
                  <c:v>PE11_1 Engineering of biomaterials, biomimetic, bioinspired and bio-enabled materials</c:v>
                </c:pt>
                <c:pt idx="32">
                  <c:v>PE11_3 Engineering of ceramics and glasses</c:v>
                </c:pt>
                <c:pt idx="33">
                  <c:v>PE11_5 Engineering of composites and hybrid materials</c:v>
                </c:pt>
                <c:pt idx="34">
                  <c:v>PE11_8 Engineering of alternative established or emergent and textile materials also for innovative membranes</c:v>
                </c:pt>
                <c:pt idx="35">
                  <c:v>PE11_CNR_1 Engineering of materials for green energy applications</c:v>
                </c:pt>
                <c:pt idx="36">
                  <c:v>PE11_CNR_2 Engineering of functional materials</c:v>
                </c:pt>
                <c:pt idx="37">
                  <c:v>LS1_7 Molecular biophysics, biomechanics, bioenergetics</c:v>
                </c:pt>
                <c:pt idx="38">
                  <c:v>LS3_7 Mechanobiology of cells, tissues and organs</c:v>
                </c:pt>
                <c:pt idx="39">
                  <c:v>LS5_11 Neurological and neurodegenerative disorders</c:v>
                </c:pt>
                <c:pt idx="40">
                  <c:v>LS9_8 Applied plant sciences, plant breeding, agronomy, agrobiodiversity, agroecology and soil biology</c:v>
                </c:pt>
                <c:pt idx="41">
                  <c:v>SH7_6 Environmental and climate change; hazards, risks or disasters; societal impact and policy</c:v>
                </c:pt>
              </c:strCache>
            </c:strRef>
          </c:cat>
          <c:val>
            <c:numRef>
              <c:f>'Ambiti disciplinari'!$C$22:$C$403</c:f>
              <c:numCache>
                <c:formatCode>0</c:formatCode>
                <c:ptCount val="42"/>
                <c:pt idx="0">
                  <c:v>1</c:v>
                </c:pt>
                <c:pt idx="1">
                  <c:v>3</c:v>
                </c:pt>
                <c:pt idx="2">
                  <c:v>6</c:v>
                </c:pt>
                <c:pt idx="3">
                  <c:v>2</c:v>
                </c:pt>
                <c:pt idx="4">
                  <c:v>31</c:v>
                </c:pt>
                <c:pt idx="5">
                  <c:v>5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5</c:v>
                </c:pt>
                <c:pt idx="11">
                  <c:v>3</c:v>
                </c:pt>
                <c:pt idx="12">
                  <c:v>1</c:v>
                </c:pt>
                <c:pt idx="13">
                  <c:v>1</c:v>
                </c:pt>
                <c:pt idx="14">
                  <c:v>9</c:v>
                </c:pt>
                <c:pt idx="15">
                  <c:v>3</c:v>
                </c:pt>
                <c:pt idx="16">
                  <c:v>2</c:v>
                </c:pt>
                <c:pt idx="17">
                  <c:v>1</c:v>
                </c:pt>
                <c:pt idx="18">
                  <c:v>7</c:v>
                </c:pt>
                <c:pt idx="19">
                  <c:v>3</c:v>
                </c:pt>
                <c:pt idx="20">
                  <c:v>3</c:v>
                </c:pt>
                <c:pt idx="21">
                  <c:v>14</c:v>
                </c:pt>
                <c:pt idx="22">
                  <c:v>1</c:v>
                </c:pt>
                <c:pt idx="23">
                  <c:v>6</c:v>
                </c:pt>
                <c:pt idx="24">
                  <c:v>9</c:v>
                </c:pt>
                <c:pt idx="25">
                  <c:v>1</c:v>
                </c:pt>
                <c:pt idx="26">
                  <c:v>1</c:v>
                </c:pt>
                <c:pt idx="27">
                  <c:v>3</c:v>
                </c:pt>
                <c:pt idx="28">
                  <c:v>1</c:v>
                </c:pt>
                <c:pt idx="29">
                  <c:v>3</c:v>
                </c:pt>
                <c:pt idx="30">
                  <c:v>1</c:v>
                </c:pt>
                <c:pt idx="31">
                  <c:v>2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9</c:v>
                </c:pt>
                <c:pt idx="36">
                  <c:v>1</c:v>
                </c:pt>
                <c:pt idx="37">
                  <c:v>2</c:v>
                </c:pt>
                <c:pt idx="38">
                  <c:v>1</c:v>
                </c:pt>
                <c:pt idx="39">
                  <c:v>1</c:v>
                </c:pt>
                <c:pt idx="40">
                  <c:v>6</c:v>
                </c:pt>
                <c:pt idx="4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A-807B-45B8-8E14-9246993626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0967823"/>
        <c:axId val="1710969071"/>
      </c:barChart>
      <c:catAx>
        <c:axId val="171096782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710969071"/>
        <c:crosses val="autoZero"/>
        <c:auto val="1"/>
        <c:lblAlgn val="ctr"/>
        <c:lblOffset val="100"/>
        <c:noMultiLvlLbl val="0"/>
      </c:catAx>
      <c:valAx>
        <c:axId val="1710969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 w="317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5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it-IT"/>
          </a:p>
        </c:txPr>
        <c:crossAx val="171096782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dk1" tx1="lt1" bg2="dk2" tx2="lt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it-IT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ore</a:t>
            </a:r>
            <a:r>
              <a:rPr lang="it-IT" sz="1200" b="1" baseline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azionale</a:t>
            </a:r>
          </a:p>
        </c:rich>
      </c:tx>
      <c:layout>
        <c:manualLayout>
          <c:xMode val="edge"/>
          <c:yMode val="edge"/>
          <c:x val="0.34903174540946968"/>
          <c:y val="6.436744853854890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view3D>
      <c:rotX val="30"/>
      <c:hPercent val="10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20655759627770584"/>
          <c:y val="0.37677603157247969"/>
          <c:w val="0.56161154275768732"/>
          <c:h val="0.46008251094173763"/>
        </c:manualLayout>
      </c:layout>
      <c:pie3DChart>
        <c:varyColors val="1"/>
        <c:ser>
          <c:idx val="0"/>
          <c:order val="0"/>
          <c:tx>
            <c:strRef>
              <c:f>Foglio1!$E$12</c:f>
              <c:strCache>
                <c:ptCount val="1"/>
                <c:pt idx="0">
                  <c:v> 12120: valore della produzione (migliaia di euro) 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4283-40C6-8566-DA46A017831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4283-40C6-8566-DA46A0178311}"/>
              </c:ext>
            </c:extLst>
          </c:dPt>
          <c:dPt>
            <c:idx val="2"/>
            <c:bubble3D val="0"/>
            <c:spPr>
              <a:solidFill>
                <a:srgbClr val="4EA72E"/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4283-40C6-8566-DA46A0178311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4283-40C6-8566-DA46A0178311}"/>
              </c:ext>
            </c:extLst>
          </c:dPt>
          <c:dPt>
            <c:idx val="4"/>
            <c:bubble3D val="0"/>
            <c:spPr>
              <a:solidFill>
                <a:schemeClr val="accent5">
                  <a:lumMod val="20000"/>
                  <a:lumOff val="80000"/>
                </a:schemeClr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9-4283-40C6-8566-DA46A0178311}"/>
              </c:ext>
            </c:extLst>
          </c:dPt>
          <c:dPt>
            <c:idx val="5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B-4283-40C6-8566-DA46A0178311}"/>
              </c:ext>
            </c:extLst>
          </c:dPt>
          <c:dLbls>
            <c:dLbl>
              <c:idx val="0"/>
              <c:layout>
                <c:manualLayout>
                  <c:x val="4.0437223499041705E-2"/>
                  <c:y val="-8.5354926868195791E-2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96945"/>
                        <a:gd name="adj2" fmla="val 1274"/>
                        <a:gd name="adj3" fmla="val 140483"/>
                        <a:gd name="adj4" fmla="val -30491"/>
                      </a:avLst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1-4283-40C6-8566-DA46A0178311}"/>
                </c:ext>
              </c:extLst>
            </c:dLbl>
            <c:dLbl>
              <c:idx val="1"/>
              <c:layout>
                <c:manualLayout>
                  <c:x val="8.3401773466773604E-2"/>
                  <c:y val="-7.6370197724175179E-2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47751"/>
                        <a:gd name="adj2" fmla="val 746"/>
                        <a:gd name="adj3" fmla="val 122662"/>
                        <a:gd name="adj4" fmla="val -53634"/>
                      </a:avLst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3-4283-40C6-8566-DA46A0178311}"/>
                </c:ext>
              </c:extLst>
            </c:dLbl>
            <c:dLbl>
              <c:idx val="2"/>
              <c:layout>
                <c:manualLayout>
                  <c:x val="6.3688627010990595E-2"/>
                  <c:y val="3.6837389490484498E-2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xmlns:c16r2="http://schemas.microsoft.com/office/drawing/2015/06/chart" xmlns:r="http://schemas.openxmlformats.org/officeDocument/2006/relationships" xmlns="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48866"/>
                        <a:gd name="adj2" fmla="val 1000"/>
                        <a:gd name="adj3" fmla="val 24606"/>
                        <a:gd name="adj4" fmla="val -42405"/>
                      </a:avLst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5-4283-40C6-8566-DA46A0178311}"/>
                </c:ext>
              </c:extLst>
            </c:dLbl>
            <c:dLbl>
              <c:idx val="3"/>
              <c:layout>
                <c:manualLayout>
                  <c:x val="8.8456426404153632E-2"/>
                  <c:y val="1.3477093716030833E-2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xmlns:c16r2="http://schemas.microsoft.com/office/drawing/2015/06/chart" xmlns:r="http://schemas.openxmlformats.org/officeDocument/2006/relationships" xmlns="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2828"/>
                        <a:gd name="adj2" fmla="val 2192"/>
                        <a:gd name="adj3" fmla="val -59331"/>
                        <a:gd name="adj4" fmla="val -99088"/>
                      </a:avLst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7-4283-40C6-8566-DA46A0178311}"/>
                </c:ext>
              </c:extLst>
            </c:dLbl>
            <c:dLbl>
              <c:idx val="4"/>
              <c:layout>
                <c:manualLayout>
                  <c:x val="-8.8456426404153757E-2"/>
                  <c:y val="0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xmlns:c16r2="http://schemas.microsoft.com/office/drawing/2015/06/chart" xmlns:r="http://schemas.openxmlformats.org/officeDocument/2006/relationships" xmlns="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2807"/>
                        <a:gd name="adj2" fmla="val 99299"/>
                        <a:gd name="adj3" fmla="val -42947"/>
                        <a:gd name="adj4" fmla="val 152098"/>
                      </a:avLst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9-4283-40C6-8566-DA46A0178311}"/>
                </c:ext>
              </c:extLst>
            </c:dLbl>
            <c:dLbl>
              <c:idx val="5"/>
              <c:layout>
                <c:manualLayout>
                  <c:x val="-2.7800591155591185E-2"/>
                  <c:y val="-0.11680147887226797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xmlns:c16r2="http://schemas.microsoft.com/office/drawing/2015/06/chart" xmlns:r="http://schemas.openxmlformats.org/officeDocument/2006/relationships" xmlns="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99158"/>
                        <a:gd name="adj2" fmla="val 99684"/>
                        <a:gd name="adj3" fmla="val 138790"/>
                        <a:gd name="adj4" fmla="val 123997"/>
                      </a:avLst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B-4283-40C6-8566-DA46A0178311}"/>
                </c:ext>
              </c:extLst>
            </c:dLbl>
            <c:spPr>
              <a:solidFill>
                <a:sysClr val="window" lastClr="FFFFFF"/>
              </a:solidFill>
              <a:ln w="6350">
                <a:solidFill>
                  <a:srgbClr val="000000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85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borderCallout1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(Foglio1!$B$13:$B$15,Foglio1!$B$17:$B$19)</c:f>
              <c:strCache>
                <c:ptCount val="6"/>
                <c:pt idx="0">
                  <c:v>Meccanica e automazione</c:v>
                </c:pt>
                <c:pt idx="1">
                  <c:v>Moda e Tessile</c:v>
                </c:pt>
                <c:pt idx="2">
                  <c:v>Legno e Arredo</c:v>
                </c:pt>
                <c:pt idx="3">
                  <c:v>Indotto</c:v>
                </c:pt>
                <c:pt idx="4">
                  <c:v>Altri settori manifatturieri</c:v>
                </c:pt>
                <c:pt idx="5">
                  <c:v>Altri settori non manifatturieri</c:v>
                </c:pt>
              </c:strCache>
            </c:strRef>
          </c:cat>
          <c:val>
            <c:numRef>
              <c:f>(Foglio1!$E$13:$E$15,Foglio1!$E$17:$E$19)</c:f>
              <c:numCache>
                <c:formatCode>0%</c:formatCode>
                <c:ptCount val="6"/>
                <c:pt idx="0">
                  <c:v>0.19765697874339727</c:v>
                </c:pt>
                <c:pt idx="1">
                  <c:v>3.4898386063931468E-2</c:v>
                </c:pt>
                <c:pt idx="2">
                  <c:v>1.4962970150246445E-2</c:v>
                </c:pt>
                <c:pt idx="3">
                  <c:v>0.23032395985439899</c:v>
                </c:pt>
                <c:pt idx="4">
                  <c:v>0.16358634967298616</c:v>
                </c:pt>
                <c:pt idx="5">
                  <c:v>0.358571355515039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283-40C6-8566-DA46A0178311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  <a:latin typeface="+mn-lt"/>
        </a:defRPr>
      </a:pPr>
      <a:endParaRPr lang="it-IT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dk1" tx1="lt1" bg2="dk2" tx2="lt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it-IT" sz="1200" b="1" baseline="0" noProof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menti</a:t>
            </a:r>
            <a:r>
              <a:rPr lang="it-IT" sz="1200" b="1" noProof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enerati</a:t>
            </a:r>
            <a:endParaRPr lang="it-IT" sz="1200" b="1" noProof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30291814124314398"/>
          <c:y val="3.7858993834331161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view3D>
      <c:rotX val="30"/>
      <c:rotY val="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23544841313275044"/>
          <c:y val="0.34808292377803596"/>
          <c:w val="0.5293863329563282"/>
          <c:h val="0.47231882762934502"/>
        </c:manualLayout>
      </c:layout>
      <c:pie3DChart>
        <c:varyColors val="1"/>
        <c:ser>
          <c:idx val="0"/>
          <c:order val="0"/>
          <c:tx>
            <c:strRef>
              <c:f>Foglio1!$U$12</c:f>
              <c:strCache>
                <c:ptCount val="1"/>
                <c:pt idx="0">
                  <c:v>Investimenti Totali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D9E0-4E36-B8FF-B441F1A691E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D9E0-4E36-B8FF-B441F1A691E5}"/>
              </c:ext>
            </c:extLst>
          </c:dPt>
          <c:dPt>
            <c:idx val="2"/>
            <c:bubble3D val="0"/>
            <c:spPr>
              <a:solidFill>
                <a:srgbClr val="4EA72E"/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D9E0-4E36-B8FF-B441F1A691E5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D9E0-4E36-B8FF-B441F1A691E5}"/>
              </c:ext>
            </c:extLst>
          </c:dPt>
          <c:dPt>
            <c:idx val="4"/>
            <c:bubble3D val="0"/>
            <c:spPr>
              <a:solidFill>
                <a:schemeClr val="accent5">
                  <a:lumMod val="20000"/>
                  <a:lumOff val="80000"/>
                </a:schemeClr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9-D9E0-4E36-B8FF-B441F1A691E5}"/>
              </c:ext>
            </c:extLst>
          </c:dPt>
          <c:dPt>
            <c:idx val="5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B-D9E0-4E36-B8FF-B441F1A691E5}"/>
              </c:ext>
            </c:extLst>
          </c:dPt>
          <c:dLbls>
            <c:dLbl>
              <c:idx val="0"/>
              <c:layout>
                <c:manualLayout>
                  <c:x val="9.2670290780400594E-2"/>
                  <c:y val="-9.0787239746224643E-2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xmlns:c16r2="http://schemas.microsoft.com/office/drawing/2015/06/chart" xmlns:r="http://schemas.openxmlformats.org/officeDocument/2006/relationships" xmlns="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45986"/>
                        <a:gd name="adj2" fmla="val -2093"/>
                        <a:gd name="adj3" fmla="val 160596"/>
                        <a:gd name="adj4" fmla="val -66022"/>
                      </a:avLst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1-D9E0-4E36-B8FF-B441F1A691E5}"/>
                </c:ext>
              </c:extLst>
            </c:dLbl>
            <c:dLbl>
              <c:idx val="1"/>
              <c:layout>
                <c:manualLayout>
                  <c:x val="7.4651067573100291E-2"/>
                  <c:y val="-4.9932981860423595E-2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50287"/>
                        <a:gd name="adj2" fmla="val -744"/>
                        <a:gd name="adj3" fmla="val 110658"/>
                        <a:gd name="adj4" fmla="val -47717"/>
                      </a:avLst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3-D9E0-4E36-B8FF-B441F1A691E5}"/>
                </c:ext>
              </c:extLst>
            </c:dLbl>
            <c:dLbl>
              <c:idx val="2"/>
              <c:layout>
                <c:manualLayout>
                  <c:x val="8.3480486944677537E-2"/>
                  <c:y val="5.8794030917701724E-2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47764"/>
                        <a:gd name="adj2" fmla="val -416"/>
                        <a:gd name="adj3" fmla="val 13327"/>
                        <a:gd name="adj4" fmla="val -51737"/>
                      </a:avLst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5-D9E0-4E36-B8FF-B441F1A691E5}"/>
                </c:ext>
              </c:extLst>
            </c:dLbl>
            <c:dLbl>
              <c:idx val="3"/>
              <c:layout>
                <c:manualLayout>
                  <c:x val="9.7818640268200446E-2"/>
                  <c:y val="-5.9011705835046016E-2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56595"/>
                        <a:gd name="adj2" fmla="val -3876"/>
                        <a:gd name="adj3" fmla="val -16"/>
                        <a:gd name="adj4" fmla="val -119417"/>
                      </a:avLst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7-D9E0-4E36-B8FF-B441F1A691E5}"/>
                </c:ext>
              </c:extLst>
            </c:dLbl>
            <c:dLbl>
              <c:idx val="4"/>
              <c:layout>
                <c:manualLayout>
                  <c:x val="-9.4497954848569612E-2"/>
                  <c:y val="2.7871682602090966E-2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xmlns:c16r2="http://schemas.microsoft.com/office/drawing/2015/06/chart" xmlns:r="http://schemas.openxmlformats.org/officeDocument/2006/relationships" xmlns="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-1457"/>
                        <a:gd name="adj2" fmla="val 101496"/>
                        <a:gd name="adj3" fmla="val -57907"/>
                        <a:gd name="adj4" fmla="val 145307"/>
                      </a:avLst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9-D9E0-4E36-B8FF-B441F1A691E5}"/>
                </c:ext>
              </c:extLst>
            </c:dLbl>
            <c:dLbl>
              <c:idx val="5"/>
              <c:layout>
                <c:manualLayout>
                  <c:x val="-4.232977002687683E-2"/>
                  <c:y val="-0.13184130104548303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xmlns:c16r2="http://schemas.microsoft.com/office/drawing/2015/06/chart" xmlns:r="http://schemas.openxmlformats.org/officeDocument/2006/relationships" xmlns="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101338"/>
                        <a:gd name="adj2" fmla="val 99980"/>
                        <a:gd name="adj3" fmla="val 131895"/>
                        <a:gd name="adj4" fmla="val 140583"/>
                      </a:avLst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B-D9E0-4E36-B8FF-B441F1A691E5}"/>
                </c:ext>
              </c:extLst>
            </c:dLbl>
            <c:spPr>
              <a:solidFill>
                <a:sysClr val="window" lastClr="FFFFFF"/>
              </a:solidFill>
              <a:ln w="6350">
                <a:solidFill>
                  <a:srgbClr val="000000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85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borderCallout1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(Foglio1!$B$13:$B$15,Foglio1!$B$17:$B$19)</c:f>
              <c:strCache>
                <c:ptCount val="6"/>
                <c:pt idx="0">
                  <c:v>Meccanica e automazione</c:v>
                </c:pt>
                <c:pt idx="1">
                  <c:v>Moda e Tessile</c:v>
                </c:pt>
                <c:pt idx="2">
                  <c:v>Legno e Arredo</c:v>
                </c:pt>
                <c:pt idx="3">
                  <c:v>Indotto</c:v>
                </c:pt>
                <c:pt idx="4">
                  <c:v>Altri settori manifatturieri</c:v>
                </c:pt>
                <c:pt idx="5">
                  <c:v>Altri settori non manifatturieri</c:v>
                </c:pt>
              </c:strCache>
            </c:strRef>
          </c:cat>
          <c:val>
            <c:numRef>
              <c:f>(Foglio1!$U$13:$U$15,Foglio1!$U$17:$U$19)</c:f>
              <c:numCache>
                <c:formatCode>0%</c:formatCode>
                <c:ptCount val="6"/>
                <c:pt idx="0">
                  <c:v>0.15238532709822486</c:v>
                </c:pt>
                <c:pt idx="1">
                  <c:v>1.8113254253168804E-2</c:v>
                </c:pt>
                <c:pt idx="2">
                  <c:v>9.6334199517566447E-3</c:v>
                </c:pt>
                <c:pt idx="3">
                  <c:v>0.26125451613030737</c:v>
                </c:pt>
                <c:pt idx="4">
                  <c:v>0.14340985461992409</c:v>
                </c:pt>
                <c:pt idx="5">
                  <c:v>0.415203627946618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9E0-4E36-B8FF-B441F1A691E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  <a:latin typeface="+mn-lt"/>
        </a:defRPr>
      </a:pPr>
      <a:endParaRPr lang="it-IT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50000"/>
            <a:lumOff val="50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4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50000"/>
            <a:lumOff val="50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4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54D37C-39A2-4118-8CE5-F15E0C62F703}" type="datetimeFigureOut">
              <a:rPr lang="en-GB" smtClean="0"/>
              <a:t>09/02/2025</a:t>
            </a:fld>
            <a:endParaRPr lang="en-GB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7CBAC7-A3F9-48AD-B062-2E3B8B38DEBF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47677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noProof="0" dirty="0" smtClean="0"/>
              <a:t>Proposta aggregazione,</a:t>
            </a:r>
            <a:r>
              <a:rPr lang="it-IT" baseline="0" noProof="0" dirty="0" smtClean="0"/>
              <a:t> </a:t>
            </a:r>
            <a:r>
              <a:rPr lang="it-IT" b="1" baseline="0" noProof="0" dirty="0" smtClean="0"/>
              <a:t>metodologia</a:t>
            </a:r>
            <a:r>
              <a:rPr lang="it-IT" baseline="0" noProof="0" dirty="0" smtClean="0"/>
              <a:t> di lavoro, </a:t>
            </a:r>
            <a:r>
              <a:rPr lang="it-IT" b="1" baseline="0" noProof="0" dirty="0" smtClean="0"/>
              <a:t>identificazione</a:t>
            </a:r>
            <a:r>
              <a:rPr lang="it-IT" baseline="0" noProof="0" dirty="0" smtClean="0"/>
              <a:t> </a:t>
            </a:r>
            <a:r>
              <a:rPr lang="it-IT" b="1" baseline="0" noProof="0" dirty="0" smtClean="0"/>
              <a:t>criticità</a:t>
            </a:r>
            <a:r>
              <a:rPr lang="it-IT" baseline="0" noProof="0" dirty="0" smtClean="0"/>
              <a:t>, necessità, </a:t>
            </a:r>
            <a:r>
              <a:rPr lang="it-IT" b="1" baseline="0" noProof="0" dirty="0" smtClean="0"/>
              <a:t>innovazione</a:t>
            </a:r>
            <a:r>
              <a:rPr lang="it-IT" baseline="0" noProof="0" dirty="0" smtClean="0"/>
              <a:t>, settori </a:t>
            </a:r>
            <a:r>
              <a:rPr lang="it-IT" b="1" baseline="0" noProof="0" dirty="0" smtClean="0"/>
              <a:t>principali manifatturiero avanzato</a:t>
            </a:r>
            <a:r>
              <a:rPr lang="it-IT" baseline="0" noProof="0" dirty="0" smtClean="0"/>
              <a:t>, incluso High-Tech, </a:t>
            </a:r>
            <a:r>
              <a:rPr lang="it-IT" b="1" baseline="0" noProof="0" dirty="0" smtClean="0"/>
              <a:t>ricognizione</a:t>
            </a:r>
            <a:r>
              <a:rPr lang="it-IT" baseline="0" noProof="0" dirty="0" smtClean="0"/>
              <a:t>, progettualità PNRR-CNR, </a:t>
            </a:r>
            <a:r>
              <a:rPr lang="it-IT" b="1" baseline="0" noProof="0" dirty="0" smtClean="0"/>
              <a:t>risposta, </a:t>
            </a:r>
            <a:r>
              <a:rPr lang="it-IT" b="1" baseline="0" noProof="0" dirty="0" smtClean="0"/>
              <a:t>soluzioni</a:t>
            </a:r>
            <a:r>
              <a:rPr lang="it-IT" baseline="0" noProof="0" dirty="0" smtClean="0"/>
              <a:t>, </a:t>
            </a:r>
            <a:endParaRPr lang="it-IT" noProof="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CBAC7-A3F9-48AD-B062-2E3B8B38DEBF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86656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1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atiche. Concordate, Circolarità</a:t>
            </a:r>
            <a:r>
              <a:rPr lang="it-IT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inimizzazione </a:t>
            </a:r>
            <a:r>
              <a:rPr lang="it-IT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i consumi energetici e dello sfruttamento di materie prime critiche, la </a:t>
            </a:r>
            <a:r>
              <a:rPr lang="it-IT" sz="1200" b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arbonizzazione</a:t>
            </a:r>
            <a:r>
              <a:rPr lang="it-IT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l’industria di processo</a:t>
            </a:r>
            <a:r>
              <a:rPr lang="it-IT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l’utilizzo di materiali di scarto e di materie prime seconde, </a:t>
            </a:r>
            <a:r>
              <a:rPr lang="it-IT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nologie </a:t>
            </a:r>
            <a:r>
              <a:rPr lang="it-IT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 riciclo, finalizzati allo sviluppo dell’Economia Circolare ed alla Sostenibilità del sistema industriale </a:t>
            </a:r>
            <a:r>
              <a:rPr lang="it-IT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aliano, </a:t>
            </a:r>
            <a:r>
              <a:rPr lang="it-IT" sz="1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sversale</a:t>
            </a:r>
            <a:r>
              <a:rPr lang="it-IT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disciplinare</a:t>
            </a:r>
            <a:endParaRPr lang="en-GB" b="1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CBAC7-A3F9-48AD-B062-2E3B8B38DEBF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43707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iniziative </a:t>
            </a:r>
            <a:r>
              <a:rPr lang="it-IT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NNR, consistenza economica</a:t>
            </a:r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CBAC7-A3F9-48AD-B062-2E3B8B38DEBF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94177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temente aggregante </a:t>
            </a:r>
            <a:r>
              <a:rPr lang="it-IT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Dipartimenti, 22 Istituti</a:t>
            </a:r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CBAC7-A3F9-48AD-B062-2E3B8B38DEBF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79100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7 pubblicazioni </a:t>
            </a:r>
            <a:r>
              <a:rPr lang="it-IT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i, </a:t>
            </a:r>
            <a:r>
              <a:rPr lang="it-IT" sz="1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sversalità</a:t>
            </a:r>
            <a:r>
              <a:rPr lang="it-IT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o RTD</a:t>
            </a:r>
            <a:r>
              <a:rPr lang="it-IT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reponderanza </a:t>
            </a:r>
            <a:r>
              <a:rPr lang="en-US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5 Synthetic Chemistry and </a:t>
            </a:r>
            <a:r>
              <a:rPr lang="it-IT" sz="1200" noProof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erials</a:t>
            </a:r>
            <a:r>
              <a:rPr lang="it-IT" sz="1200" noProof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PE3, </a:t>
            </a:r>
            <a:r>
              <a:rPr lang="it-IT" sz="1200" b="1" noProof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contro</a:t>
            </a:r>
            <a:r>
              <a:rPr lang="it-IT" sz="1200" noProof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mbito proposto dal CNR  </a:t>
            </a:r>
            <a:r>
              <a:rPr lang="it-IT" sz="1200" b="1" noProof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5_CNR1_</a:t>
            </a:r>
            <a:r>
              <a:rPr lang="it-IT" sz="1200" noProof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en </a:t>
            </a:r>
            <a:r>
              <a:rPr lang="it-IT" sz="1200" noProof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mistry</a:t>
            </a:r>
            <a:r>
              <a:rPr lang="it-IT" sz="1200" noProof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</a:t>
            </a:r>
            <a:r>
              <a:rPr lang="it-IT" sz="1200" noProof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rcular</a:t>
            </a:r>
            <a:r>
              <a:rPr lang="it-IT" sz="1200" noProof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conomy</a:t>
            </a:r>
            <a:endParaRPr lang="it-IT" noProof="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CBAC7-A3F9-48AD-B062-2E3B8B38DEBF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2710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0C43BA-0659-E50F-E410-4F577350A8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4A8A14A5-658F-FFBF-27F1-FF5B0E6D05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286FF9E2-0A0E-0240-CF07-DC54B06F99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b="1" noProof="0" dirty="0"/>
              <a:t>Collaborazioni</a:t>
            </a:r>
            <a:r>
              <a:rPr lang="it-IT" noProof="0" dirty="0"/>
              <a:t> pubblico / private già attivate nel periodo con i progetti aggregati: &gt; di 30 Università / Istituzioni di Ricerca, &gt; 40 Imprese </a:t>
            </a:r>
            <a:r>
              <a:rPr lang="it-IT" noProof="0" dirty="0" smtClean="0"/>
              <a:t>private.</a:t>
            </a:r>
            <a:r>
              <a:rPr lang="it-IT" baseline="0" noProof="0" dirty="0" smtClean="0"/>
              <a:t> </a:t>
            </a:r>
            <a:r>
              <a:rPr lang="it-IT" noProof="0" dirty="0" smtClean="0"/>
              <a:t>Questi </a:t>
            </a:r>
            <a:r>
              <a:rPr lang="it-IT" noProof="0" dirty="0"/>
              <a:t>settori generano circa il 50% del </a:t>
            </a:r>
            <a:r>
              <a:rPr lang="it-IT" b="1" noProof="0" dirty="0"/>
              <a:t>PIL</a:t>
            </a:r>
            <a:r>
              <a:rPr lang="it-IT" noProof="0" dirty="0"/>
              <a:t> nazionale, incluso l'indotto, ed assorbono circa il 40% del </a:t>
            </a:r>
            <a:r>
              <a:rPr lang="it-IT" b="1" noProof="0" dirty="0" smtClean="0"/>
              <a:t>CAPEX</a:t>
            </a:r>
            <a:r>
              <a:rPr lang="it-IT" noProof="0" dirty="0" smtClean="0"/>
              <a:t>.</a:t>
            </a:r>
            <a:r>
              <a:rPr lang="it-IT" baseline="0" noProof="0" dirty="0" smtClean="0"/>
              <a:t> </a:t>
            </a:r>
            <a:r>
              <a:rPr lang="it-IT" noProof="0" dirty="0" smtClean="0"/>
              <a:t>Grandi </a:t>
            </a:r>
            <a:r>
              <a:rPr lang="it-IT" noProof="0" dirty="0"/>
              <a:t>capacità di </a:t>
            </a:r>
            <a:r>
              <a:rPr lang="it-IT" b="1" noProof="0" dirty="0"/>
              <a:t>espansione</a:t>
            </a:r>
            <a:r>
              <a:rPr lang="it-IT" noProof="0" dirty="0"/>
              <a:t> ad altre industrie nel settore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F6374173-0350-02EB-3D07-25160CBF8F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CBAC7-A3F9-48AD-B062-2E3B8B38DEBF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63990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18981A7-0EC3-CDA6-D7BF-9400799BB1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05FAF45B-4237-E3BF-D162-882FC3D20C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AC2B7BB-FBBA-8ABB-9973-BFA40436DE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E3E926-7608-48AF-8239-B78E162C1B6F}" type="datetime1">
              <a:rPr lang="it-IT" smtClean="0"/>
              <a:t>09/02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FB71CAF-4141-9F8E-C1B6-D3B0ECF59C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37076649-7A3C-DE7D-A97A-D8AB027F7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582037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2FC1F9D-DFAF-A590-C10C-862C3C9920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47B9A45C-1FBD-5EF8-0B01-F6874F2625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197F2F7-A940-6984-5FB7-949992F0D3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BDA84-9759-416C-B691-B510E99C468C}" type="datetime1">
              <a:rPr lang="it-IT" smtClean="0"/>
              <a:t>09/02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4FFC4AC-8B27-6CE5-E101-EDE51713F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7A00479-C489-DA86-FC16-9658203151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354397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CD47E374-B7D4-BB0F-1531-68A38B1DF36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56747F66-93B1-8CE2-9044-228914AB6D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EBCA747C-FA5A-959E-CC88-0FE40CD957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EE2A2-DC64-44E7-A09E-61D52887E244}" type="datetime1">
              <a:rPr lang="it-IT" smtClean="0"/>
              <a:t>09/02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27CB33EB-2854-1D3D-F431-E91AC8622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7FF57B8-BCA8-081D-6FF8-BD94509E2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978709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7D8E04E-E54E-1DEE-4299-355488D17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F479491B-0AE9-E825-7400-C782515009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748350C-04B6-1ADA-31F0-61BEF2B7B7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605A-9E87-4478-BE10-1D5D7075A5BB}" type="datetime1">
              <a:rPr lang="it-IT" smtClean="0"/>
              <a:t>09/02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F182D9C-574B-FA2A-228B-1EE4CD22AA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697EA49-3030-8573-EEE4-0B1267BF69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10266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633A9C6-2CC2-C7C0-55EC-584ABCD57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B24DDA9C-9AAC-A825-EEAC-82AEB09618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9C876C8-EC31-6803-2459-5C6AFBAB69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AE67A-D525-4ADD-A0FF-B9142E1B26E8}" type="datetime1">
              <a:rPr lang="it-IT" smtClean="0"/>
              <a:t>09/02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07BE7DE-F2B1-B467-597D-B11A2DA9D4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FE50568A-D7E2-E796-4474-5AED92B95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040461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6E87C44-AA52-50FB-CAA5-4803FE9017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A762A086-B7E7-2E6B-4F08-884ECFB33B3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86EAD39F-C931-7865-E95E-FEFB6849B7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85CF320A-0567-B042-A24F-654C656679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9946C-2332-4FAD-9126-B1579584307B}" type="datetime1">
              <a:rPr lang="it-IT" smtClean="0"/>
              <a:t>09/02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B266CE6-C481-467E-AE7E-5B34833FCF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FD4B8B7-AF7C-0161-CAB3-8BFAF16089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444964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79F49DF-740E-9DA7-FCEB-E0BF37D712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905B502D-1EBA-B2FA-DE56-E34210FD51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E8CF3ED7-B354-7802-0088-A13B6CD2C0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55BD2848-D581-BF39-1166-78DEB3958D3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B490895E-1249-AD34-274E-6D54FE9CDE3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E471F731-352A-E25F-D067-0D3830A57B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296D8-3772-4AD6-9A7C-3FB9D3E17770}" type="datetime1">
              <a:rPr lang="it-IT" smtClean="0"/>
              <a:t>09/02/2025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35C4C2AF-A04D-B092-3D2B-CF74BF062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C808D07E-A9BB-C25A-F626-E6E2FF555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545317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A92BAF0-A434-4CAA-1C8C-2B6B990B54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1B6EF19E-E101-9CBB-66F8-80D3656AB1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1B95E6-7908-4D53-91B6-96CDFA3FD744}" type="datetime1">
              <a:rPr lang="it-IT" smtClean="0"/>
              <a:t>09/02/2025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7B90346C-340E-72F7-2AE4-A5C90AE9AA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DD15EC9D-AB7B-5BB4-E867-4354629B35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744431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D0F4CFAF-1AB0-3386-CF7D-F411F996C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EA984-937E-4A3D-A180-7E4423694EC4}" type="datetime1">
              <a:rPr lang="it-IT" smtClean="0"/>
              <a:t>09/02/2025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B6DEF715-6081-B61C-0E74-AE49BC1092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89FA1BE2-F64F-DC58-6CB5-9A74CC59F6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792981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9854BE7-5DE3-9921-57C6-7D0EE2F70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4EB84BD-9A54-7B5F-F8EE-E21C27C17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A70F13F9-00C7-6957-A58A-EF2600E1FBD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DBC31324-AB86-82B1-56A5-96B08D1512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BECBCA-92F8-4E5F-BC61-2B67FECC9F4F}" type="datetime1">
              <a:rPr lang="it-IT" smtClean="0"/>
              <a:t>09/02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DA063D8-46F8-DAA6-EBF1-6E9C7F6EC2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9F174032-CA17-0BEC-4182-EF5AF298E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752088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5DDA6AD-88AA-A231-FD7A-770325E17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D3931D8-FE69-8141-105E-E4F133AEA92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E5496C47-181B-0B3A-DBBB-6C30D1C041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85484FAE-66F3-50A3-AFC5-C58230A5BB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20C524-C21A-4AEA-9532-5D32DF0F43C7}" type="datetime1">
              <a:rPr lang="it-IT" smtClean="0"/>
              <a:t>09/02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0C0E07B-8681-3023-CDFC-607BC232D4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118E912F-0FCC-85B1-B8D5-E984362DFB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09925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68ACE82D-3DBF-C63B-2E1E-29110CE344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8B37B2E3-709D-6548-FBC5-4E6D774A9E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3B320CB-EF21-40B6-1A01-4C93A124D5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C3E3E0A-0619-4488-B829-15B94F79C911}" type="datetime1">
              <a:rPr lang="it-IT" smtClean="0"/>
              <a:t>09/02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E0E1396-32B9-EEE8-AD0E-19FA45E02F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DE8111A-CDCB-3E03-71F0-92ADAACAD3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64449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bin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1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10" Type="http://schemas.openxmlformats.org/officeDocument/2006/relationships/image" Target="../media/image14.jpeg"/><Relationship Id="rId4" Type="http://schemas.openxmlformats.org/officeDocument/2006/relationships/image" Target="../media/image2.png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199" y="1591834"/>
            <a:ext cx="10515600" cy="1627307"/>
          </a:xfrm>
        </p:spPr>
        <p:txBody>
          <a:bodyPr>
            <a:noAutofit/>
          </a:bodyPr>
          <a:lstStyle/>
          <a:p>
            <a:pPr algn="just">
              <a:lnSpc>
                <a:spcPct val="100000"/>
              </a:lnSpc>
            </a:pPr>
            <a:r>
              <a:rPr lang="it-IT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eriali e processi innovativi da fonti residuali e non-critiche, per lo sviluppo di una economia e di un sistema industriale italiano verde, sostenibile e circolare</a:t>
            </a:r>
            <a:endParaRPr lang="en-GB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ttangolo 5"/>
          <p:cNvSpPr/>
          <p:nvPr/>
        </p:nvSpPr>
        <p:spPr>
          <a:xfrm>
            <a:off x="4334214" y="6442017"/>
            <a:ext cx="32591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orkshop "Sostenibilità PNRR@CNR”</a:t>
            </a:r>
            <a:endParaRPr lang="en-GB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ttangolo 6"/>
          <p:cNvSpPr/>
          <p:nvPr/>
        </p:nvSpPr>
        <p:spPr>
          <a:xfrm>
            <a:off x="9761409" y="6427805"/>
            <a:ext cx="197522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isa, 10 febbraio 2025</a:t>
            </a:r>
            <a:endParaRPr lang="en-GB" sz="1400" dirty="0"/>
          </a:p>
        </p:txBody>
      </p:sp>
      <p:sp>
        <p:nvSpPr>
          <p:cNvPr id="8" name="Titolo 1"/>
          <p:cNvSpPr txBox="1">
            <a:spLocks/>
          </p:cNvSpPr>
          <p:nvPr/>
        </p:nvSpPr>
        <p:spPr>
          <a:xfrm>
            <a:off x="838199" y="3504655"/>
            <a:ext cx="10515600" cy="8314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42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O</a:t>
            </a:r>
            <a:endParaRPr lang="en-GB" sz="42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ttangolo 8"/>
          <p:cNvSpPr/>
          <p:nvPr/>
        </p:nvSpPr>
        <p:spPr>
          <a:xfrm>
            <a:off x="5150868" y="4725625"/>
            <a:ext cx="1890262" cy="7232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ierluigi Barbaro</a:t>
            </a:r>
          </a:p>
          <a:p>
            <a:pPr algn="ctr"/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</a:rPr>
              <a:t>ICCOM</a:t>
            </a:r>
            <a:endParaRPr lang="en-GB" dirty="0"/>
          </a:p>
        </p:txBody>
      </p:sp>
      <p:sp>
        <p:nvSpPr>
          <p:cNvPr id="10" name="Rettangolo 9"/>
          <p:cNvSpPr/>
          <p:nvPr/>
        </p:nvSpPr>
        <p:spPr>
          <a:xfrm>
            <a:off x="4757332" y="859308"/>
            <a:ext cx="2677335" cy="3539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sz="1700" i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roposta di aggregazione</a:t>
            </a:r>
            <a:endParaRPr lang="en-GB" sz="1700" i="1" dirty="0"/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70" y="6425686"/>
            <a:ext cx="1280931" cy="340673"/>
          </a:xfrm>
          <a:prstGeom prst="rect">
            <a:avLst/>
          </a:prstGeom>
        </p:spPr>
      </p:pic>
      <p:pic>
        <p:nvPicPr>
          <p:cNvPr id="12" name="Immagine 11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176266"/>
            <a:ext cx="11618232" cy="36000"/>
          </a:xfrm>
          <a:prstGeom prst="rect">
            <a:avLst/>
          </a:prstGeom>
        </p:spPr>
      </p:pic>
      <p:pic>
        <p:nvPicPr>
          <p:cNvPr id="13" name="Immagine 12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286040"/>
            <a:ext cx="11618232" cy="2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946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/>
          <p:cNvSpPr txBox="1">
            <a:spLocks/>
          </p:cNvSpPr>
          <p:nvPr/>
        </p:nvSpPr>
        <p:spPr>
          <a:xfrm>
            <a:off x="9924464" y="6402563"/>
            <a:ext cx="1926877" cy="38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16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O</a:t>
            </a:r>
            <a:endParaRPr lang="en-GB" sz="16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306000" y="440500"/>
            <a:ext cx="108462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600"/>
              </a:spcAft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mbito tematico: </a:t>
            </a: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ostenibilità, Economia Circolare, Critical </a:t>
            </a:r>
            <a:r>
              <a:rPr lang="it-IT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Raw</a:t>
            </a: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it-IT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Materials</a:t>
            </a: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, Biomasse, </a:t>
            </a:r>
            <a:r>
              <a:rPr lang="it-IT" sz="160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Riciclo, </a:t>
            </a:r>
            <a:r>
              <a:rPr lang="it-IT" sz="1600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Decarbonizzazione</a:t>
            </a:r>
            <a:endParaRPr lang="en-GB" sz="1600" dirty="0"/>
          </a:p>
        </p:txBody>
      </p:sp>
      <p:pic>
        <p:nvPicPr>
          <p:cNvPr id="17" name="Immagine 1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70" y="6425686"/>
            <a:ext cx="1280931" cy="340673"/>
          </a:xfrm>
          <a:prstGeom prst="rect">
            <a:avLst/>
          </a:prstGeom>
        </p:spPr>
      </p:pic>
      <p:pic>
        <p:nvPicPr>
          <p:cNvPr id="18" name="Immagine 17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286040"/>
            <a:ext cx="11618232" cy="25200"/>
          </a:xfrm>
          <a:prstGeom prst="rect">
            <a:avLst/>
          </a:prstGeom>
        </p:spPr>
      </p:pic>
      <p:sp>
        <p:nvSpPr>
          <p:cNvPr id="4" name="Rettangolo 3"/>
          <p:cNvSpPr/>
          <p:nvPr/>
        </p:nvSpPr>
        <p:spPr>
          <a:xfrm>
            <a:off x="305301" y="1071889"/>
            <a:ext cx="11617200" cy="4493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447675" algn="l"/>
              </a:tabLs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 e realizzazione di prodotti, materiali, processi e tecnologie innovative per il manifatturiero italiano avanzato in funzione della Transizione Ecologica</a:t>
            </a:r>
          </a:p>
          <a:p>
            <a:pPr algn="just">
              <a:spcAft>
                <a:spcPts val="600"/>
              </a:spcAft>
              <a:tabLst>
                <a:tab pos="447675" algn="l"/>
              </a:tabLst>
            </a:pPr>
            <a:endParaRPr lang="it-IT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1000"/>
              </a:spcAft>
              <a:tabLst>
                <a:tab pos="447675" algn="l"/>
              </a:tabLst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ro-temi di aggregazione trasversali e multidisciplinari</a:t>
            </a:r>
          </a:p>
          <a:p>
            <a:pPr algn="just">
              <a:tabLst>
                <a:tab pos="447675" algn="l"/>
              </a:tabLst>
            </a:pPr>
            <a:r>
              <a:rPr lang="it-IT" sz="16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 Sviluppo di materiali da rifiuti post-consumo e materie prime seconde </a:t>
            </a:r>
          </a:p>
          <a:p>
            <a:pPr algn="just">
              <a:tabLst>
                <a:tab pos="447675" algn="l"/>
              </a:tabLs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1 	Depolimerizzazione e </a:t>
            </a:r>
            <a:r>
              <a:rPr lang="it-IT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cycling</a:t>
            </a: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 plastiche e riciclo chimico di tessuti sintetici</a:t>
            </a:r>
          </a:p>
          <a:p>
            <a:pPr algn="just">
              <a:tabLst>
                <a:tab pos="447675" algn="l"/>
              </a:tabLs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2 	Urban </a:t>
            </a:r>
            <a:r>
              <a:rPr lang="it-IT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ng</a:t>
            </a: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riciclo di metalli critici da RAEE, magneti e batterie </a:t>
            </a:r>
          </a:p>
          <a:p>
            <a:pPr algn="just">
              <a:spcAft>
                <a:spcPts val="1000"/>
              </a:spcAft>
              <a:tabLst>
                <a:tab pos="447675" algn="l"/>
              </a:tabLs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3 	Riciclo di materiali da costruzione</a:t>
            </a:r>
          </a:p>
          <a:p>
            <a:pPr algn="just">
              <a:tabLst>
                <a:tab pos="447675" algn="l"/>
              </a:tabLst>
            </a:pPr>
            <a:r>
              <a:rPr lang="it-IT" sz="16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 Sviluppo di materiali da risorse non-critiche, rinnovabili e residuali</a:t>
            </a:r>
          </a:p>
          <a:p>
            <a:pPr algn="just">
              <a:tabLst>
                <a:tab pos="447675" algn="l"/>
              </a:tabLs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1 	Upgrade di minerali abbondanti e secondari</a:t>
            </a:r>
          </a:p>
          <a:p>
            <a:pPr algn="just">
              <a:tabLst>
                <a:tab pos="447675" algn="l"/>
              </a:tabLs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2 	Valorizzazione della biomassa vegetale non-edibile: scarti agricoli, della selvicoltura e dell’industria mobiliera</a:t>
            </a:r>
          </a:p>
          <a:p>
            <a:pPr algn="just">
              <a:spcAft>
                <a:spcPts val="1000"/>
              </a:spcAft>
              <a:tabLst>
                <a:tab pos="447675" algn="l"/>
              </a:tabLs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3 	Sfruttamento di residui dell’industria metallurgica, elettronica e oreficeria</a:t>
            </a:r>
          </a:p>
          <a:p>
            <a:pPr algn="just">
              <a:tabLst>
                <a:tab pos="447675" algn="l"/>
              </a:tabLst>
            </a:pPr>
            <a:r>
              <a:rPr lang="it-IT" sz="16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. Sviluppo di processi sostenibili e materiali intelligenti</a:t>
            </a:r>
          </a:p>
          <a:p>
            <a:pPr algn="just">
              <a:tabLst>
                <a:tab pos="447675" algn="l"/>
              </a:tabLs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.1 	Funzionalizzazione di prodotti di consumo per il conferimento di proprietà antibatteriche, ignifughe, </a:t>
            </a:r>
            <a:r>
              <a:rPr lang="it-IT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oristiche</a:t>
            </a: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tc.</a:t>
            </a:r>
          </a:p>
          <a:p>
            <a:pPr algn="just">
              <a:tabLst>
                <a:tab pos="447675" algn="l"/>
              </a:tabLs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.2 	Materiali innovativi </a:t>
            </a:r>
            <a:r>
              <a:rPr lang="it-IT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fe</a:t>
            </a: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by-design, </a:t>
            </a:r>
            <a:r>
              <a:rPr lang="it-IT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rcular</a:t>
            </a: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by-design, biodegradabili</a:t>
            </a:r>
          </a:p>
          <a:p>
            <a:pPr algn="just">
              <a:tabLst>
                <a:tab pos="447675" algn="l"/>
              </a:tabLs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.3 	Processi verdi a basso impatto ambientale ed economico, incluso uso di materie prime rinnovabili e </a:t>
            </a:r>
            <a:r>
              <a:rPr lang="it-IT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opolimerizzazione</a:t>
            </a:r>
            <a:endParaRPr lang="it-IT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8108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/>
          <p:cNvSpPr txBox="1">
            <a:spLocks/>
          </p:cNvSpPr>
          <p:nvPr/>
        </p:nvSpPr>
        <p:spPr>
          <a:xfrm>
            <a:off x="9924464" y="6402563"/>
            <a:ext cx="1926877" cy="38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16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O</a:t>
            </a:r>
            <a:endParaRPr lang="en-GB" sz="16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306000" y="440500"/>
            <a:ext cx="44165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Iniziative </a:t>
            </a:r>
            <a:r>
              <a:rPr lang="it-IT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Hub</a:t>
            </a: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&amp; </a:t>
            </a:r>
            <a:r>
              <a:rPr lang="it-IT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poke</a:t>
            </a: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coinvolte M4C2</a:t>
            </a:r>
            <a:endParaRPr lang="en-GB" dirty="0"/>
          </a:p>
        </p:txBody>
      </p:sp>
      <p:pic>
        <p:nvPicPr>
          <p:cNvPr id="17" name="Immagine 1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70" y="6425686"/>
            <a:ext cx="1280931" cy="340673"/>
          </a:xfrm>
          <a:prstGeom prst="rect">
            <a:avLst/>
          </a:prstGeom>
        </p:spPr>
      </p:pic>
      <p:pic>
        <p:nvPicPr>
          <p:cNvPr id="18" name="Immagine 17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286040"/>
            <a:ext cx="11618232" cy="25200"/>
          </a:xfrm>
          <a:prstGeom prst="rect">
            <a:avLst/>
          </a:prstGeom>
        </p:spPr>
      </p:pic>
      <p:sp>
        <p:nvSpPr>
          <p:cNvPr id="4" name="Rettangolo 3"/>
          <p:cNvSpPr/>
          <p:nvPr/>
        </p:nvSpPr>
        <p:spPr>
          <a:xfrm>
            <a:off x="305301" y="1770424"/>
            <a:ext cx="1786464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  <a:tabLst>
                <a:tab pos="447675" algn="l"/>
              </a:tabLst>
            </a:pPr>
            <a:r>
              <a:rPr lang="it-IT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11_MICS</a:t>
            </a:r>
          </a:p>
          <a:p>
            <a:pPr algn="just">
              <a:tabLst>
                <a:tab pos="447675" algn="l"/>
              </a:tabLst>
            </a:pPr>
            <a:r>
              <a:rPr lang="it-IT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ke</a:t>
            </a:r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</a:t>
            </a:r>
          </a:p>
          <a:p>
            <a:pPr algn="just">
              <a:tabLst>
                <a:tab pos="447675" algn="l"/>
              </a:tabLst>
            </a:pPr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filiato </a:t>
            </a:r>
            <a:r>
              <a:rPr lang="it-IT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ke</a:t>
            </a:r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</a:t>
            </a:r>
          </a:p>
          <a:p>
            <a:pPr algn="just">
              <a:tabLst>
                <a:tab pos="447675" algn="l"/>
              </a:tabLst>
            </a:pPr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filiato </a:t>
            </a:r>
            <a:r>
              <a:rPr lang="it-IT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ke</a:t>
            </a:r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</a:t>
            </a:r>
          </a:p>
          <a:p>
            <a:pPr algn="just">
              <a:tabLst>
                <a:tab pos="447675" algn="l"/>
              </a:tabLst>
            </a:pPr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filiato </a:t>
            </a:r>
            <a:r>
              <a:rPr lang="it-IT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ke</a:t>
            </a:r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</a:t>
            </a:r>
          </a:p>
          <a:p>
            <a:pPr algn="just">
              <a:tabLst>
                <a:tab pos="447675" algn="l"/>
              </a:tabLst>
            </a:pPr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filiato </a:t>
            </a:r>
            <a:r>
              <a:rPr lang="it-IT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ke</a:t>
            </a:r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6</a:t>
            </a:r>
          </a:p>
        </p:txBody>
      </p:sp>
      <p:sp>
        <p:nvSpPr>
          <p:cNvPr id="7" name="Rettangolo 6"/>
          <p:cNvSpPr/>
          <p:nvPr/>
        </p:nvSpPr>
        <p:spPr>
          <a:xfrm>
            <a:off x="2257216" y="1770424"/>
            <a:ext cx="1786464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  <a:tabLst>
                <a:tab pos="447675" algn="l"/>
              </a:tabLst>
            </a:pPr>
            <a:r>
              <a:rPr lang="it-IT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N_MOST</a:t>
            </a:r>
          </a:p>
          <a:p>
            <a:pPr algn="just">
              <a:tabLst>
                <a:tab pos="447675" algn="l"/>
              </a:tabLst>
            </a:pPr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filiato </a:t>
            </a:r>
            <a:r>
              <a:rPr lang="it-IT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ke</a:t>
            </a:r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1</a:t>
            </a:r>
          </a:p>
        </p:txBody>
      </p:sp>
      <p:sp>
        <p:nvSpPr>
          <p:cNvPr id="9" name="Rettangolo 8"/>
          <p:cNvSpPr/>
          <p:nvPr/>
        </p:nvSpPr>
        <p:spPr>
          <a:xfrm>
            <a:off x="4227059" y="1770424"/>
            <a:ext cx="1786464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  <a:tabLst>
                <a:tab pos="447675" algn="l"/>
              </a:tabLst>
            </a:pPr>
            <a:r>
              <a:rPr lang="it-IT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_ECOSISTER</a:t>
            </a:r>
          </a:p>
          <a:p>
            <a:pPr algn="just">
              <a:tabLst>
                <a:tab pos="447675" algn="l"/>
              </a:tabLst>
            </a:pPr>
            <a:r>
              <a:rPr lang="it-IT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ke</a:t>
            </a:r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</a:t>
            </a:r>
          </a:p>
          <a:p>
            <a:pPr algn="just">
              <a:tabLst>
                <a:tab pos="447675" algn="l"/>
              </a:tabLst>
            </a:pPr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filiato </a:t>
            </a:r>
            <a:r>
              <a:rPr lang="it-IT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ke</a:t>
            </a:r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</a:t>
            </a:r>
          </a:p>
          <a:p>
            <a:pPr algn="just">
              <a:tabLst>
                <a:tab pos="447675" algn="l"/>
              </a:tabLst>
            </a:pPr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filiato </a:t>
            </a:r>
            <a:r>
              <a:rPr lang="it-IT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ke</a:t>
            </a:r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</a:t>
            </a:r>
          </a:p>
        </p:txBody>
      </p:sp>
      <p:sp>
        <p:nvSpPr>
          <p:cNvPr id="11" name="Rettangolo 10"/>
          <p:cNvSpPr/>
          <p:nvPr/>
        </p:nvSpPr>
        <p:spPr>
          <a:xfrm>
            <a:off x="6161045" y="1770424"/>
            <a:ext cx="1907189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  <a:tabLst>
                <a:tab pos="447675" algn="l"/>
              </a:tabLst>
            </a:pPr>
            <a:r>
              <a:rPr lang="it-IT" sz="1600" b="1" spc="-4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_SAMOTHRACE</a:t>
            </a:r>
          </a:p>
          <a:p>
            <a:pPr algn="just">
              <a:tabLst>
                <a:tab pos="447675" algn="l"/>
              </a:tabLst>
            </a:pPr>
            <a:r>
              <a:rPr lang="it-IT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ke</a:t>
            </a:r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</a:t>
            </a:r>
          </a:p>
        </p:txBody>
      </p:sp>
      <p:sp>
        <p:nvSpPr>
          <p:cNvPr id="12" name="Rettangolo 11"/>
          <p:cNvSpPr/>
          <p:nvPr/>
        </p:nvSpPr>
        <p:spPr>
          <a:xfrm>
            <a:off x="8202601" y="1770424"/>
            <a:ext cx="1786464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  <a:tabLst>
                <a:tab pos="447675" algn="l"/>
              </a:tabLst>
            </a:pPr>
            <a:r>
              <a:rPr lang="it-IT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_Tech4You</a:t>
            </a:r>
          </a:p>
          <a:p>
            <a:pPr algn="just">
              <a:tabLst>
                <a:tab pos="447675" algn="l"/>
              </a:tabLst>
            </a:pPr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filiato </a:t>
            </a:r>
            <a:r>
              <a:rPr lang="it-IT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ke</a:t>
            </a:r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</a:t>
            </a:r>
          </a:p>
        </p:txBody>
      </p:sp>
      <p:sp>
        <p:nvSpPr>
          <p:cNvPr id="13" name="Rettangolo 12"/>
          <p:cNvSpPr/>
          <p:nvPr/>
        </p:nvSpPr>
        <p:spPr>
          <a:xfrm>
            <a:off x="10082805" y="1770424"/>
            <a:ext cx="17864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  <a:tabLst>
                <a:tab pos="447675" algn="l"/>
              </a:tabLst>
            </a:pPr>
            <a:r>
              <a:rPr lang="it-IT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_iENTRANCE</a:t>
            </a:r>
            <a:endParaRPr lang="it-IT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7216" y="907152"/>
            <a:ext cx="1213702" cy="857250"/>
          </a:xfrm>
          <a:prstGeom prst="rect">
            <a:avLst/>
          </a:prstGeom>
        </p:spPr>
      </p:pic>
      <p:pic>
        <p:nvPicPr>
          <p:cNvPr id="3" name="Immagine 2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01" y="917209"/>
            <a:ext cx="1326714" cy="938306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7602" y="1113590"/>
            <a:ext cx="1251174" cy="443038"/>
          </a:xfrm>
          <a:prstGeom prst="rect">
            <a:avLst/>
          </a:prstGeom>
        </p:spPr>
      </p:pic>
      <p:pic>
        <p:nvPicPr>
          <p:cNvPr id="14" name="Immagine 13"/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781" y="1077734"/>
            <a:ext cx="956931" cy="620755"/>
          </a:xfrm>
          <a:prstGeom prst="rect">
            <a:avLst/>
          </a:prstGeom>
        </p:spPr>
      </p:pic>
      <p:pic>
        <p:nvPicPr>
          <p:cNvPr id="15" name="Immagine 14"/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601" y="1113590"/>
            <a:ext cx="1506361" cy="474093"/>
          </a:xfrm>
          <a:prstGeom prst="rect">
            <a:avLst/>
          </a:prstGeom>
        </p:spPr>
      </p:pic>
      <p:pic>
        <p:nvPicPr>
          <p:cNvPr id="16" name="Immagine 15"/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4637" y="1113590"/>
            <a:ext cx="1539771" cy="426004"/>
          </a:xfrm>
          <a:prstGeom prst="rect">
            <a:avLst/>
          </a:prstGeom>
        </p:spPr>
      </p:pic>
      <p:graphicFrame>
        <p:nvGraphicFramePr>
          <p:cNvPr id="19" name="Tabel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9550555"/>
              </p:ext>
            </p:extLst>
          </p:nvPr>
        </p:nvGraphicFramePr>
        <p:xfrm>
          <a:off x="370541" y="3406333"/>
          <a:ext cx="11552992" cy="2754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4124">
                  <a:extLst>
                    <a:ext uri="{9D8B030D-6E8A-4147-A177-3AD203B41FA5}">
                      <a16:colId xmlns:a16="http://schemas.microsoft.com/office/drawing/2014/main" val="1916249392"/>
                    </a:ext>
                  </a:extLst>
                </a:gridCol>
                <a:gridCol w="1444124">
                  <a:extLst>
                    <a:ext uri="{9D8B030D-6E8A-4147-A177-3AD203B41FA5}">
                      <a16:colId xmlns:a16="http://schemas.microsoft.com/office/drawing/2014/main" val="3773297526"/>
                    </a:ext>
                  </a:extLst>
                </a:gridCol>
                <a:gridCol w="1444124">
                  <a:extLst>
                    <a:ext uri="{9D8B030D-6E8A-4147-A177-3AD203B41FA5}">
                      <a16:colId xmlns:a16="http://schemas.microsoft.com/office/drawing/2014/main" val="3925248058"/>
                    </a:ext>
                  </a:extLst>
                </a:gridCol>
                <a:gridCol w="1444124">
                  <a:extLst>
                    <a:ext uri="{9D8B030D-6E8A-4147-A177-3AD203B41FA5}">
                      <a16:colId xmlns:a16="http://schemas.microsoft.com/office/drawing/2014/main" val="2886848621"/>
                    </a:ext>
                  </a:extLst>
                </a:gridCol>
                <a:gridCol w="1444124">
                  <a:extLst>
                    <a:ext uri="{9D8B030D-6E8A-4147-A177-3AD203B41FA5}">
                      <a16:colId xmlns:a16="http://schemas.microsoft.com/office/drawing/2014/main" val="2549066355"/>
                    </a:ext>
                  </a:extLst>
                </a:gridCol>
                <a:gridCol w="1444124">
                  <a:extLst>
                    <a:ext uri="{9D8B030D-6E8A-4147-A177-3AD203B41FA5}">
                      <a16:colId xmlns:a16="http://schemas.microsoft.com/office/drawing/2014/main" val="7763139"/>
                    </a:ext>
                  </a:extLst>
                </a:gridCol>
                <a:gridCol w="1444124">
                  <a:extLst>
                    <a:ext uri="{9D8B030D-6E8A-4147-A177-3AD203B41FA5}">
                      <a16:colId xmlns:a16="http://schemas.microsoft.com/office/drawing/2014/main" val="2776165873"/>
                    </a:ext>
                  </a:extLst>
                </a:gridCol>
                <a:gridCol w="1444124">
                  <a:extLst>
                    <a:ext uri="{9D8B030D-6E8A-4147-A177-3AD203B41FA5}">
                      <a16:colId xmlns:a16="http://schemas.microsoft.com/office/drawing/2014/main" val="1776088652"/>
                    </a:ext>
                  </a:extLst>
                </a:gridCol>
              </a:tblGrid>
              <a:tr h="269854">
                <a:tc gridSpan="8"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dget CNR</a:t>
                      </a:r>
                    </a:p>
                  </a:txBody>
                  <a:tcPr marT="36000" marB="3600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144741"/>
                  </a:ext>
                </a:extLst>
              </a:tr>
              <a:tr h="269854">
                <a:tc>
                  <a:txBody>
                    <a:bodyPr/>
                    <a:lstStyle/>
                    <a:p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oke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CS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ST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OSISTER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MOTHRACE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4You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ENTRAN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6983837"/>
                  </a:ext>
                </a:extLst>
              </a:tr>
              <a:tr h="269854">
                <a:tc>
                  <a:txBody>
                    <a:bodyPr/>
                    <a:lstStyle/>
                    <a:p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6.053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574.999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8766743"/>
                  </a:ext>
                </a:extLst>
              </a:tr>
              <a:tr h="269854">
                <a:tc>
                  <a:txBody>
                    <a:bodyPr/>
                    <a:lstStyle/>
                    <a:p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5.469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744.426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8191892"/>
                  </a:ext>
                </a:extLst>
              </a:tr>
              <a:tr h="269854">
                <a:tc>
                  <a:txBody>
                    <a:bodyPr/>
                    <a:lstStyle/>
                    <a:p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010.599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5.976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9399184"/>
                  </a:ext>
                </a:extLst>
              </a:tr>
              <a:tr h="269854">
                <a:tc>
                  <a:txBody>
                    <a:bodyPr/>
                    <a:lstStyle/>
                    <a:p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1.646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.053.535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8720587"/>
                  </a:ext>
                </a:extLst>
              </a:tr>
              <a:tr h="269854">
                <a:tc>
                  <a:txBody>
                    <a:bodyPr/>
                    <a:lstStyle/>
                    <a:p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0.497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1749529"/>
                  </a:ext>
                </a:extLst>
              </a:tr>
              <a:tr h="269854">
                <a:tc>
                  <a:txBody>
                    <a:bodyPr/>
                    <a:lstStyle/>
                    <a:p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2.078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0162365"/>
                  </a:ext>
                </a:extLst>
              </a:tr>
              <a:tr h="269854">
                <a:tc>
                  <a:txBody>
                    <a:bodyPr/>
                    <a:lstStyle/>
                    <a:p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430.012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7648661"/>
                  </a:ext>
                </a:extLst>
              </a:tr>
              <a:tr h="269854">
                <a:tc>
                  <a:txBody>
                    <a:bodyPr/>
                    <a:lstStyle/>
                    <a:p>
                      <a:r>
                        <a:rPr lang="en-GB" sz="12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lang="en-GB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075.845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430.012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301.472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.053.535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744.726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.000.000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.605.290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8650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1235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/>
          <p:cNvSpPr txBox="1">
            <a:spLocks/>
          </p:cNvSpPr>
          <p:nvPr/>
        </p:nvSpPr>
        <p:spPr>
          <a:xfrm>
            <a:off x="9924464" y="6402563"/>
            <a:ext cx="1926877" cy="38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16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O</a:t>
            </a:r>
            <a:endParaRPr lang="en-GB" sz="16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306000" y="446850"/>
            <a:ext cx="24801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Dipartimenti e Istituti</a:t>
            </a:r>
            <a:endParaRPr lang="en-GB" dirty="0"/>
          </a:p>
        </p:txBody>
      </p:sp>
      <p:pic>
        <p:nvPicPr>
          <p:cNvPr id="17" name="Immagine 1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70" y="6425686"/>
            <a:ext cx="1280931" cy="340673"/>
          </a:xfrm>
          <a:prstGeom prst="rect">
            <a:avLst/>
          </a:prstGeom>
        </p:spPr>
      </p:pic>
      <p:pic>
        <p:nvPicPr>
          <p:cNvPr id="18" name="Immagine 17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286040"/>
            <a:ext cx="11618232" cy="25200"/>
          </a:xfrm>
          <a:prstGeom prst="rect">
            <a:avLst/>
          </a:prstGeom>
        </p:spPr>
      </p:pic>
      <p:graphicFrame>
        <p:nvGraphicFramePr>
          <p:cNvPr id="21" name="Tabel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583552"/>
              </p:ext>
            </p:extLst>
          </p:nvPr>
        </p:nvGraphicFramePr>
        <p:xfrm>
          <a:off x="369559" y="1690509"/>
          <a:ext cx="6700212" cy="445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6702">
                  <a:extLst>
                    <a:ext uri="{9D8B030D-6E8A-4147-A177-3AD203B41FA5}">
                      <a16:colId xmlns:a16="http://schemas.microsoft.com/office/drawing/2014/main" val="3300702004"/>
                    </a:ext>
                  </a:extLst>
                </a:gridCol>
                <a:gridCol w="1116702">
                  <a:extLst>
                    <a:ext uri="{9D8B030D-6E8A-4147-A177-3AD203B41FA5}">
                      <a16:colId xmlns:a16="http://schemas.microsoft.com/office/drawing/2014/main" val="141131690"/>
                    </a:ext>
                  </a:extLst>
                </a:gridCol>
                <a:gridCol w="1116702">
                  <a:extLst>
                    <a:ext uri="{9D8B030D-6E8A-4147-A177-3AD203B41FA5}">
                      <a16:colId xmlns:a16="http://schemas.microsoft.com/office/drawing/2014/main" val="2040783545"/>
                    </a:ext>
                  </a:extLst>
                </a:gridCol>
                <a:gridCol w="1116702">
                  <a:extLst>
                    <a:ext uri="{9D8B030D-6E8A-4147-A177-3AD203B41FA5}">
                      <a16:colId xmlns:a16="http://schemas.microsoft.com/office/drawing/2014/main" val="3586228309"/>
                    </a:ext>
                  </a:extLst>
                </a:gridCol>
                <a:gridCol w="1116702">
                  <a:extLst>
                    <a:ext uri="{9D8B030D-6E8A-4147-A177-3AD203B41FA5}">
                      <a16:colId xmlns:a16="http://schemas.microsoft.com/office/drawing/2014/main" val="2686205656"/>
                    </a:ext>
                  </a:extLst>
                </a:gridCol>
                <a:gridCol w="1116702">
                  <a:extLst>
                    <a:ext uri="{9D8B030D-6E8A-4147-A177-3AD203B41FA5}">
                      <a16:colId xmlns:a16="http://schemas.microsoft.com/office/drawing/2014/main" val="356911311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SCTM</a:t>
                      </a:r>
                    </a:p>
                  </a:txBody>
                  <a:tcPr marL="216000" marR="7620" marT="36000" marB="36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ITET</a:t>
                      </a:r>
                    </a:p>
                  </a:txBody>
                  <a:tcPr marL="216000" marR="7620" marT="36000" marB="36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BA</a:t>
                      </a:r>
                    </a:p>
                  </a:txBody>
                  <a:tcPr marL="216000" marR="7620" marT="36000" marB="36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SSTTA</a:t>
                      </a:r>
                    </a:p>
                  </a:txBody>
                  <a:tcPr marL="216000" marR="7620" marT="36000" marB="36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SFTM</a:t>
                      </a:r>
                    </a:p>
                  </a:txBody>
                  <a:tcPr marL="216000" marR="7620" marT="36000" marB="36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SB</a:t>
                      </a:r>
                    </a:p>
                  </a:txBody>
                  <a:tcPr marL="216000" marR="7620" marT="36000" marB="3600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06418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COM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TI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BE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AC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NO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GM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71661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ITEC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IIMA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MAR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M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9817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SMC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EM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M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46219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M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EMS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5348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PCF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2130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PCB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33951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MN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09299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MATE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3562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B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77363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85499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OF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121769"/>
                  </a:ext>
                </a:extLst>
              </a:tr>
            </a:tbl>
          </a:graphicData>
        </a:graphic>
      </p:graphicFrame>
      <p:graphicFrame>
        <p:nvGraphicFramePr>
          <p:cNvPr id="22" name="Tabella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3550605"/>
              </p:ext>
            </p:extLst>
          </p:nvPr>
        </p:nvGraphicFramePr>
        <p:xfrm>
          <a:off x="7410356" y="1064718"/>
          <a:ext cx="4513183" cy="50758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7461">
                  <a:extLst>
                    <a:ext uri="{9D8B030D-6E8A-4147-A177-3AD203B41FA5}">
                      <a16:colId xmlns:a16="http://schemas.microsoft.com/office/drawing/2014/main" val="1378455403"/>
                    </a:ext>
                  </a:extLst>
                </a:gridCol>
                <a:gridCol w="593500">
                  <a:extLst>
                    <a:ext uri="{9D8B030D-6E8A-4147-A177-3AD203B41FA5}">
                      <a16:colId xmlns:a16="http://schemas.microsoft.com/office/drawing/2014/main" val="442569848"/>
                    </a:ext>
                  </a:extLst>
                </a:gridCol>
                <a:gridCol w="593500">
                  <a:extLst>
                    <a:ext uri="{9D8B030D-6E8A-4147-A177-3AD203B41FA5}">
                      <a16:colId xmlns:a16="http://schemas.microsoft.com/office/drawing/2014/main" val="1547302338"/>
                    </a:ext>
                  </a:extLst>
                </a:gridCol>
                <a:gridCol w="688881">
                  <a:extLst>
                    <a:ext uri="{9D8B030D-6E8A-4147-A177-3AD203B41FA5}">
                      <a16:colId xmlns:a16="http://schemas.microsoft.com/office/drawing/2014/main" val="3041737355"/>
                    </a:ext>
                  </a:extLst>
                </a:gridCol>
                <a:gridCol w="816201">
                  <a:extLst>
                    <a:ext uri="{9D8B030D-6E8A-4147-A177-3AD203B41FA5}">
                      <a16:colId xmlns:a16="http://schemas.microsoft.com/office/drawing/2014/main" val="3422958398"/>
                    </a:ext>
                  </a:extLst>
                </a:gridCol>
                <a:gridCol w="571976">
                  <a:extLst>
                    <a:ext uri="{9D8B030D-6E8A-4147-A177-3AD203B41FA5}">
                      <a16:colId xmlns:a16="http://schemas.microsoft.com/office/drawing/2014/main" val="1613760588"/>
                    </a:ext>
                  </a:extLst>
                </a:gridCol>
                <a:gridCol w="681664">
                  <a:extLst>
                    <a:ext uri="{9D8B030D-6E8A-4147-A177-3AD203B41FA5}">
                      <a16:colId xmlns:a16="http://schemas.microsoft.com/office/drawing/2014/main" val="160879643"/>
                    </a:ext>
                  </a:extLst>
                </a:gridCol>
              </a:tblGrid>
              <a:tr h="290889">
                <a:tc>
                  <a:txBody>
                    <a:bodyPr/>
                    <a:lstStyle/>
                    <a:p>
                      <a:pPr algn="ctr"/>
                      <a:endParaRPr lang="en-GB" sz="880" b="0" spc="-7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="1" spc="-5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CS</a:t>
                      </a:r>
                    </a:p>
                  </a:txBody>
                  <a:tcPr marL="36000" marR="36000" anchor="ctr"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="1" spc="-5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ST</a:t>
                      </a:r>
                    </a:p>
                  </a:txBody>
                  <a:tcPr marL="36000" marR="36000" anchor="ctr"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="1" spc="-5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OSISTER</a:t>
                      </a:r>
                    </a:p>
                  </a:txBody>
                  <a:tcPr marL="36000" marR="36000" anchor="ctr"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="1" spc="-5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MOTHRACE</a:t>
                      </a:r>
                    </a:p>
                  </a:txBody>
                  <a:tcPr marL="36000" marR="36000" anchor="ctr"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="1" spc="-5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4You</a:t>
                      </a:r>
                    </a:p>
                  </a:txBody>
                  <a:tcPr marL="36000" marR="36000" anchor="ctr"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="1" spc="-50" baseline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ENTRANCE</a:t>
                      </a:r>
                      <a:endParaRPr lang="en-GB" sz="880" b="1" spc="-50" baseline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865357"/>
                  </a:ext>
                </a:extLst>
              </a:tr>
              <a:tr h="217499">
                <a:tc>
                  <a:txBody>
                    <a:bodyPr/>
                    <a:lstStyle/>
                    <a:p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COM</a:t>
                      </a:r>
                    </a:p>
                  </a:txBody>
                  <a:tcPr marL="36000" marR="72000" marT="28800" marB="28800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9465175"/>
                  </a:ext>
                </a:extLst>
              </a:tr>
              <a:tr h="217499">
                <a:tc>
                  <a:txBody>
                    <a:bodyPr/>
                    <a:lstStyle/>
                    <a:p>
                      <a:pPr algn="l" fontAlgn="ctr"/>
                      <a:r>
                        <a:rPr lang="it-IT" sz="88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ITEC</a:t>
                      </a:r>
                    </a:p>
                  </a:txBody>
                  <a:tcPr marL="36000" marR="7620" marT="28800" marB="2880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29486"/>
                  </a:ext>
                </a:extLst>
              </a:tr>
              <a:tr h="217499">
                <a:tc>
                  <a:txBody>
                    <a:bodyPr/>
                    <a:lstStyle/>
                    <a:p>
                      <a:pPr algn="l" fontAlgn="ctr"/>
                      <a:r>
                        <a:rPr lang="it-IT" sz="88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SMC</a:t>
                      </a:r>
                    </a:p>
                  </a:txBody>
                  <a:tcPr marL="36000" marR="7620" marT="28800" marB="2880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0872422"/>
                  </a:ext>
                </a:extLst>
              </a:tr>
              <a:tr h="217499">
                <a:tc>
                  <a:txBody>
                    <a:bodyPr/>
                    <a:lstStyle/>
                    <a:p>
                      <a:pPr algn="l" fontAlgn="ctr"/>
                      <a:r>
                        <a:rPr lang="it-IT" sz="88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M</a:t>
                      </a:r>
                    </a:p>
                  </a:txBody>
                  <a:tcPr marL="36000" marR="7620" marT="28800" marB="2880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3455149"/>
                  </a:ext>
                </a:extLst>
              </a:tr>
              <a:tr h="217499">
                <a:tc>
                  <a:txBody>
                    <a:bodyPr/>
                    <a:lstStyle/>
                    <a:p>
                      <a:pPr algn="l" fontAlgn="ctr"/>
                      <a:r>
                        <a:rPr lang="it-IT" sz="88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PCF</a:t>
                      </a:r>
                    </a:p>
                  </a:txBody>
                  <a:tcPr marL="36000" marR="7620" marT="28800" marB="2880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7908678"/>
                  </a:ext>
                </a:extLst>
              </a:tr>
              <a:tr h="217499">
                <a:tc>
                  <a:txBody>
                    <a:bodyPr/>
                    <a:lstStyle/>
                    <a:p>
                      <a:pPr algn="l" fontAlgn="ctr"/>
                      <a:r>
                        <a:rPr lang="it-IT" sz="88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PCB</a:t>
                      </a:r>
                    </a:p>
                  </a:txBody>
                  <a:tcPr marL="36000" marR="7620" marT="28800" marB="2880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7897734"/>
                  </a:ext>
                </a:extLst>
              </a:tr>
              <a:tr h="217499">
                <a:tc>
                  <a:txBody>
                    <a:bodyPr/>
                    <a:lstStyle/>
                    <a:p>
                      <a:pPr algn="l" fontAlgn="ctr"/>
                      <a:r>
                        <a:rPr lang="it-IT" sz="88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MN</a:t>
                      </a:r>
                    </a:p>
                  </a:txBody>
                  <a:tcPr marL="36000" marR="7620" marT="28800" marB="2880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1249043"/>
                  </a:ext>
                </a:extLst>
              </a:tr>
              <a:tr h="217499">
                <a:tc>
                  <a:txBody>
                    <a:bodyPr/>
                    <a:lstStyle/>
                    <a:p>
                      <a:pPr algn="l" fontAlgn="ctr"/>
                      <a:r>
                        <a:rPr lang="it-IT" sz="88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MATE</a:t>
                      </a:r>
                    </a:p>
                  </a:txBody>
                  <a:tcPr marL="36000" marR="7620" marT="28800" marB="2880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4885077"/>
                  </a:ext>
                </a:extLst>
              </a:tr>
              <a:tr h="217499">
                <a:tc>
                  <a:txBody>
                    <a:bodyPr/>
                    <a:lstStyle/>
                    <a:p>
                      <a:pPr algn="l" fontAlgn="ctr"/>
                      <a:r>
                        <a:rPr lang="it-IT" sz="88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B</a:t>
                      </a:r>
                    </a:p>
                  </a:txBody>
                  <a:tcPr marL="36000" marR="7620" marT="28800" marB="2880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146593"/>
                  </a:ext>
                </a:extLst>
              </a:tr>
              <a:tr h="217499">
                <a:tc>
                  <a:txBody>
                    <a:bodyPr/>
                    <a:lstStyle/>
                    <a:p>
                      <a:pPr algn="l" fontAlgn="ctr"/>
                      <a:r>
                        <a:rPr lang="it-IT" sz="88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</a:t>
                      </a:r>
                    </a:p>
                  </a:txBody>
                  <a:tcPr marL="36000" marR="7620" marT="28800" marB="2880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7328010"/>
                  </a:ext>
                </a:extLst>
              </a:tr>
              <a:tr h="217499">
                <a:tc>
                  <a:txBody>
                    <a:bodyPr/>
                    <a:lstStyle/>
                    <a:p>
                      <a:pPr algn="l" fontAlgn="ctr"/>
                      <a:r>
                        <a:rPr lang="it-IT" sz="88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OF</a:t>
                      </a:r>
                    </a:p>
                  </a:txBody>
                  <a:tcPr marL="36000" marR="7620" marT="28800" marB="2880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7963054"/>
                  </a:ext>
                </a:extLst>
              </a:tr>
              <a:tr h="217499">
                <a:tc>
                  <a:txBody>
                    <a:bodyPr/>
                    <a:lstStyle/>
                    <a:p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TI</a:t>
                      </a:r>
                    </a:p>
                  </a:txBody>
                  <a:tcPr marL="36000" marR="72000" marT="28800" marB="28800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4169642"/>
                  </a:ext>
                </a:extLst>
              </a:tr>
              <a:tr h="217499">
                <a:tc>
                  <a:txBody>
                    <a:bodyPr/>
                    <a:lstStyle/>
                    <a:p>
                      <a:pPr algn="l" fontAlgn="ctr"/>
                      <a:r>
                        <a:rPr lang="it-IT" sz="88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IIMA</a:t>
                      </a:r>
                    </a:p>
                  </a:txBody>
                  <a:tcPr marL="36000" marR="7620" marT="28800" marB="2880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702415"/>
                  </a:ext>
                </a:extLst>
              </a:tr>
              <a:tr h="217499">
                <a:tc>
                  <a:txBody>
                    <a:bodyPr/>
                    <a:lstStyle/>
                    <a:p>
                      <a:pPr algn="l" fontAlgn="ctr"/>
                      <a:r>
                        <a:rPr lang="it-IT" sz="88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EM</a:t>
                      </a:r>
                    </a:p>
                  </a:txBody>
                  <a:tcPr marL="36000" marR="7620" marT="28800" marB="2880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1062211"/>
                  </a:ext>
                </a:extLst>
              </a:tr>
              <a:tr h="217499">
                <a:tc>
                  <a:txBody>
                    <a:bodyPr/>
                    <a:lstStyle/>
                    <a:p>
                      <a:pPr algn="l" fontAlgn="ctr"/>
                      <a:r>
                        <a:rPr lang="it-IT" sz="88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EMS</a:t>
                      </a:r>
                    </a:p>
                  </a:txBody>
                  <a:tcPr marL="36000" marR="7620" marT="28800" marB="2880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9484674"/>
                  </a:ext>
                </a:extLst>
              </a:tr>
              <a:tr h="217499">
                <a:tc>
                  <a:txBody>
                    <a:bodyPr/>
                    <a:lstStyle/>
                    <a:p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BE</a:t>
                      </a:r>
                    </a:p>
                  </a:txBody>
                  <a:tcPr marL="36000" marR="72000" marT="28800" marB="28800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2038781"/>
                  </a:ext>
                </a:extLst>
              </a:tr>
              <a:tr h="217499">
                <a:tc>
                  <a:txBody>
                    <a:bodyPr/>
                    <a:lstStyle/>
                    <a:p>
                      <a:pPr algn="l" fontAlgn="ctr"/>
                      <a:r>
                        <a:rPr lang="it-IT" sz="88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AC</a:t>
                      </a:r>
                    </a:p>
                  </a:txBody>
                  <a:tcPr marL="36000" marR="7620" marT="28800" marB="2880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484349"/>
                  </a:ext>
                </a:extLst>
              </a:tr>
              <a:tr h="217499">
                <a:tc>
                  <a:txBody>
                    <a:bodyPr/>
                    <a:lstStyle/>
                    <a:p>
                      <a:pPr algn="l" fontAlgn="ctr"/>
                      <a:r>
                        <a:rPr lang="it-IT" sz="88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MAR</a:t>
                      </a:r>
                    </a:p>
                  </a:txBody>
                  <a:tcPr marL="36000" marR="7620" marT="28800" marB="2880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5164805"/>
                  </a:ext>
                </a:extLst>
              </a:tr>
              <a:tr h="217499">
                <a:tc>
                  <a:txBody>
                    <a:bodyPr/>
                    <a:lstStyle/>
                    <a:p>
                      <a:pPr algn="l" fontAlgn="ctr"/>
                      <a:r>
                        <a:rPr lang="it-IT" sz="88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NO</a:t>
                      </a:r>
                    </a:p>
                  </a:txBody>
                  <a:tcPr marL="36000" marR="7620" marT="28800" marB="2880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6001768"/>
                  </a:ext>
                </a:extLst>
              </a:tr>
              <a:tr h="217499">
                <a:tc>
                  <a:txBody>
                    <a:bodyPr/>
                    <a:lstStyle/>
                    <a:p>
                      <a:pPr algn="l" fontAlgn="ctr"/>
                      <a:r>
                        <a:rPr lang="it-IT" sz="88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M</a:t>
                      </a:r>
                    </a:p>
                  </a:txBody>
                  <a:tcPr marL="36000" marR="7620" marT="28800" marB="2880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8984810"/>
                  </a:ext>
                </a:extLst>
              </a:tr>
              <a:tr h="217499">
                <a:tc>
                  <a:txBody>
                    <a:bodyPr/>
                    <a:lstStyle/>
                    <a:p>
                      <a:pPr algn="l" fontAlgn="ctr"/>
                      <a:r>
                        <a:rPr lang="it-IT" sz="88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M</a:t>
                      </a:r>
                    </a:p>
                  </a:txBody>
                  <a:tcPr marL="36000" marR="7620" marT="28800" marB="2880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9960718"/>
                  </a:ext>
                </a:extLst>
              </a:tr>
              <a:tr h="217499">
                <a:tc>
                  <a:txBody>
                    <a:bodyPr/>
                    <a:lstStyle/>
                    <a:p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GM</a:t>
                      </a:r>
                    </a:p>
                  </a:txBody>
                  <a:tcPr marL="36000" marR="72000" marT="28800" marB="28800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8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8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800" marB="28800" anchor="ctr">
                    <a:solidFill>
                      <a:srgbClr val="C1D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3963639"/>
                  </a:ext>
                </a:extLst>
              </a:tr>
            </a:tbl>
          </a:graphicData>
        </a:graphic>
      </p:graphicFrame>
      <p:pic>
        <p:nvPicPr>
          <p:cNvPr id="3" name="Immagine 2">
            <a:extLst>
              <a:ext uri="{FF2B5EF4-FFF2-40B4-BE49-F238E27FC236}">
                <a16:creationId xmlns:a16="http://schemas.microsoft.com/office/drawing/2014/main" id="{50BB5E47-31DB-D166-2694-EE8585823D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7398" y="1176424"/>
            <a:ext cx="1122942" cy="258295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E6E36B97-87C4-9E13-7586-E6A2A58E6E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48693" y="1064718"/>
            <a:ext cx="805720" cy="47777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2BBF16EC-838C-8E75-1211-D362373F78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24"/>
          <a:stretch/>
        </p:blipFill>
        <p:spPr bwMode="auto">
          <a:xfrm>
            <a:off x="2563186" y="1162234"/>
            <a:ext cx="1153787" cy="318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NR DSSTTA">
            <a:extLst>
              <a:ext uri="{FF2B5EF4-FFF2-40B4-BE49-F238E27FC236}">
                <a16:creationId xmlns:a16="http://schemas.microsoft.com/office/drawing/2014/main" id="{4D386F2F-8C5C-F319-D838-88631C29189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336"/>
          <a:stretch/>
        </p:blipFill>
        <p:spPr bwMode="auto">
          <a:xfrm>
            <a:off x="3813849" y="1174343"/>
            <a:ext cx="904298" cy="248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ito DSB-CNR">
            <a:extLst>
              <a:ext uri="{FF2B5EF4-FFF2-40B4-BE49-F238E27FC236}">
                <a16:creationId xmlns:a16="http://schemas.microsoft.com/office/drawing/2014/main" id="{BA27CCD2-9990-4ACF-7825-10BC87C452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280"/>
          <a:stretch/>
        </p:blipFill>
        <p:spPr bwMode="auto">
          <a:xfrm>
            <a:off x="6014468" y="1162971"/>
            <a:ext cx="986428" cy="283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NanoInnovation 2019 - Home">
            <a:extLst>
              <a:ext uri="{FF2B5EF4-FFF2-40B4-BE49-F238E27FC236}">
                <a16:creationId xmlns:a16="http://schemas.microsoft.com/office/drawing/2014/main" id="{E332AC80-B59B-B07A-B57B-9AD7D9E40F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25" t="8612" r="25518" b="9716"/>
          <a:stretch/>
        </p:blipFill>
        <p:spPr bwMode="auto">
          <a:xfrm>
            <a:off x="5146622" y="999068"/>
            <a:ext cx="541281" cy="61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1276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Grafico 13">
            <a:extLst>
              <a:ext uri="{FF2B5EF4-FFF2-40B4-BE49-F238E27FC236}">
                <a16:creationId xmlns:a16="http://schemas.microsoft.com/office/drawing/2014/main" id="{AA58E56F-B6DD-40B0-9151-0B114EB16FD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26841304"/>
              </p:ext>
            </p:extLst>
          </p:nvPr>
        </p:nvGraphicFramePr>
        <p:xfrm>
          <a:off x="396074" y="1345210"/>
          <a:ext cx="6079807" cy="50894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itolo 1"/>
          <p:cNvSpPr txBox="1">
            <a:spLocks/>
          </p:cNvSpPr>
          <p:nvPr/>
        </p:nvSpPr>
        <p:spPr>
          <a:xfrm>
            <a:off x="9924464" y="6402563"/>
            <a:ext cx="1926877" cy="38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16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O</a:t>
            </a:r>
            <a:endParaRPr lang="en-GB" sz="16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306000" y="446850"/>
            <a:ext cx="30059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ubblicazioni scientifiche</a:t>
            </a:r>
            <a:endParaRPr lang="en-GB" dirty="0"/>
          </a:p>
        </p:txBody>
      </p:sp>
      <p:pic>
        <p:nvPicPr>
          <p:cNvPr id="17" name="Immagine 16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70" y="6425686"/>
            <a:ext cx="1280931" cy="340673"/>
          </a:xfrm>
          <a:prstGeom prst="rect">
            <a:avLst/>
          </a:prstGeom>
        </p:spPr>
      </p:pic>
      <p:pic>
        <p:nvPicPr>
          <p:cNvPr id="18" name="Immagine 17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286040"/>
            <a:ext cx="11618232" cy="25200"/>
          </a:xfrm>
          <a:prstGeom prst="rect">
            <a:avLst/>
          </a:prstGeom>
        </p:spPr>
      </p:pic>
      <p:graphicFrame>
        <p:nvGraphicFramePr>
          <p:cNvPr id="9" name="Tabel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0241355"/>
              </p:ext>
            </p:extLst>
          </p:nvPr>
        </p:nvGraphicFramePr>
        <p:xfrm>
          <a:off x="7644129" y="923292"/>
          <a:ext cx="4090671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3557">
                  <a:extLst>
                    <a:ext uri="{9D8B030D-6E8A-4147-A177-3AD203B41FA5}">
                      <a16:colId xmlns:a16="http://schemas.microsoft.com/office/drawing/2014/main" val="3300702004"/>
                    </a:ext>
                  </a:extLst>
                </a:gridCol>
                <a:gridCol w="1363557">
                  <a:extLst>
                    <a:ext uri="{9D8B030D-6E8A-4147-A177-3AD203B41FA5}">
                      <a16:colId xmlns:a16="http://schemas.microsoft.com/office/drawing/2014/main" val="141131690"/>
                    </a:ext>
                  </a:extLst>
                </a:gridCol>
                <a:gridCol w="1363557">
                  <a:extLst>
                    <a:ext uri="{9D8B030D-6E8A-4147-A177-3AD203B41FA5}">
                      <a16:colId xmlns:a16="http://schemas.microsoft.com/office/drawing/2014/main" val="204078354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7620" marT="36000" marB="36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blicazioni</a:t>
                      </a:r>
                    </a:p>
                  </a:txBody>
                  <a:tcPr marL="90000" marR="7620" marT="36000" marB="36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TD coinvolti</a:t>
                      </a:r>
                    </a:p>
                  </a:txBody>
                  <a:tcPr marL="90000" marR="7620" marT="36000" marB="3600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06418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CS</a:t>
                      </a:r>
                    </a:p>
                  </a:txBody>
                  <a:tcPr marL="90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71661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ST</a:t>
                      </a:r>
                    </a:p>
                  </a:txBody>
                  <a:tcPr marL="90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9817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OSISTER</a:t>
                      </a:r>
                    </a:p>
                  </a:txBody>
                  <a:tcPr marL="90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46219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MOTHRACE</a:t>
                      </a:r>
                    </a:p>
                  </a:txBody>
                  <a:tcPr marL="90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5348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4You</a:t>
                      </a:r>
                    </a:p>
                  </a:txBody>
                  <a:tcPr marL="90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2130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ENTRANCE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33951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90000" marR="7620" marT="36000" marB="36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7</a:t>
                      </a:r>
                    </a:p>
                  </a:txBody>
                  <a:tcPr marL="90000" marR="576000" marT="36000" marB="36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</a:t>
                      </a:r>
                    </a:p>
                  </a:txBody>
                  <a:tcPr marL="90000" marR="576000" marT="36000" marB="3600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5088774"/>
                  </a:ext>
                </a:extLst>
              </a:tr>
            </a:tbl>
          </a:graphicData>
        </a:graphic>
      </p:graphicFrame>
      <p:sp>
        <p:nvSpPr>
          <p:cNvPr id="11" name="Rettangolo 10"/>
          <p:cNvSpPr/>
          <p:nvPr/>
        </p:nvSpPr>
        <p:spPr>
          <a:xfrm>
            <a:off x="305301" y="907460"/>
            <a:ext cx="488627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mbiti disciplinari: numero di pubblicazioni collettive</a:t>
            </a:r>
            <a:endParaRPr lang="en-GB" sz="1600" dirty="0"/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A1318686-0351-B484-D495-82BB8EEDF96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14249" y="4078188"/>
            <a:ext cx="3559186" cy="2116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037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47E8C1-6514-B78B-142C-D29A0121F3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DA96EE29-6DE1-38AC-2B5A-4127D5F73B1F}"/>
              </a:ext>
            </a:extLst>
          </p:cNvPr>
          <p:cNvSpPr txBox="1">
            <a:spLocks/>
          </p:cNvSpPr>
          <p:nvPr/>
        </p:nvSpPr>
        <p:spPr>
          <a:xfrm>
            <a:off x="9924464" y="6402563"/>
            <a:ext cx="1926877" cy="38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16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O</a:t>
            </a:r>
            <a:endParaRPr lang="en-GB" sz="16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BB3599C8-20E7-8E92-050D-BBD41117C235}"/>
              </a:ext>
            </a:extLst>
          </p:cNvPr>
          <p:cNvSpPr/>
          <p:nvPr/>
        </p:nvSpPr>
        <p:spPr>
          <a:xfrm>
            <a:off x="306000" y="446850"/>
            <a:ext cx="23391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apacità scientifica</a:t>
            </a:r>
            <a:endParaRPr lang="en-GB" dirty="0"/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B56F62A3-9E88-979B-3F4D-067A839B56E3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70" y="6425686"/>
            <a:ext cx="1280931" cy="340673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F1225D95-E049-48CF-9C8F-6BF6481091F7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286040"/>
            <a:ext cx="11618232" cy="25200"/>
          </a:xfrm>
          <a:prstGeom prst="rect">
            <a:avLst/>
          </a:prstGeom>
        </p:spPr>
      </p:pic>
      <p:sp>
        <p:nvSpPr>
          <p:cNvPr id="11" name="Rettangolo 10">
            <a:extLst>
              <a:ext uri="{FF2B5EF4-FFF2-40B4-BE49-F238E27FC236}">
                <a16:creationId xmlns:a16="http://schemas.microsoft.com/office/drawing/2014/main" id="{BA60D622-DAB3-A986-22B3-1AFDCBEB49B6}"/>
              </a:ext>
            </a:extLst>
          </p:cNvPr>
          <p:cNvSpPr/>
          <p:nvPr/>
        </p:nvSpPr>
        <p:spPr>
          <a:xfrm>
            <a:off x="306000" y="907460"/>
            <a:ext cx="11617200" cy="2409483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spcAft>
                <a:spcPts val="600"/>
              </a:spcAft>
            </a:pPr>
            <a:r>
              <a:rPr lang="it-IT" sz="1600" dirty="0">
                <a:solidFill>
                  <a:srgbClr val="00B05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ollaborazioni pubblico / private</a:t>
            </a:r>
          </a:p>
          <a:p>
            <a:pPr>
              <a:spcAft>
                <a:spcPts val="600"/>
              </a:spcAf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&gt; 30 Università / Istituzioni di Ricerca</a:t>
            </a:r>
          </a:p>
          <a:p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&gt; 40 Industrie</a:t>
            </a:r>
          </a:p>
          <a:p>
            <a:pPr>
              <a:lnSpc>
                <a:spcPts val="1500"/>
              </a:lnSpc>
            </a:pPr>
            <a:endParaRPr lang="it-IT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algn="just">
              <a:spcAft>
                <a:spcPts val="600"/>
              </a:spcAft>
            </a:pPr>
            <a:r>
              <a:rPr lang="it-IT" sz="1600" dirty="0">
                <a:solidFill>
                  <a:srgbClr val="00B05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ettori, tipologia</a:t>
            </a:r>
          </a:p>
          <a:p>
            <a:pPr algn="just">
              <a:spcAft>
                <a:spcPts val="600"/>
              </a:spcAf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essile, Calzaturiero (Moda), Tessuti, Imbottiti (Arredo), Ceramico (Arredo, High-Tech, Costruzioni), Nautico (High-Tech), Legno (Arredo), </a:t>
            </a:r>
            <a:r>
              <a:rPr lang="it-IT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Bio</a:t>
            </a: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-economia (Plastiche, Additivi, Coloranti, Solventi), Metalli preziosi (Gioielleria, Automotive), Materiali critici (Elettronica, Energia, Meccanica), Prodotti chimici, Intermedi sintetici (Chimico - farmaceutico)</a:t>
            </a:r>
          </a:p>
        </p:txBody>
      </p:sp>
      <p:graphicFrame>
        <p:nvGraphicFramePr>
          <p:cNvPr id="7" name="Grafico 18">
            <a:extLst>
              <a:ext uri="{FF2B5EF4-FFF2-40B4-BE49-F238E27FC236}">
                <a16:creationId xmlns:a16="http://schemas.microsoft.com/office/drawing/2014/main" id="{610BA05D-C350-8C37-B928-93FA3CB6D9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5256742"/>
              </p:ext>
            </p:extLst>
          </p:nvPr>
        </p:nvGraphicFramePr>
        <p:xfrm>
          <a:off x="1051581" y="3269213"/>
          <a:ext cx="4811987" cy="2707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Grafico 18">
            <a:extLst>
              <a:ext uri="{FF2B5EF4-FFF2-40B4-BE49-F238E27FC236}">
                <a16:creationId xmlns:a16="http://schemas.microsoft.com/office/drawing/2014/main" id="{E993A535-05F7-E28F-51AA-1DB9BBDF56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6973757"/>
              </p:ext>
            </p:extLst>
          </p:nvPr>
        </p:nvGraphicFramePr>
        <p:xfrm>
          <a:off x="6284596" y="3437880"/>
          <a:ext cx="4824729" cy="273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Rettangolo 1">
            <a:extLst>
              <a:ext uri="{FF2B5EF4-FFF2-40B4-BE49-F238E27FC236}">
                <a16:creationId xmlns:a16="http://schemas.microsoft.com/office/drawing/2014/main" id="{F93F15C9-57FB-5013-C715-2F160646408F}"/>
              </a:ext>
            </a:extLst>
          </p:cNvPr>
          <p:cNvSpPr/>
          <p:nvPr/>
        </p:nvSpPr>
        <p:spPr>
          <a:xfrm>
            <a:off x="10412851" y="6033736"/>
            <a:ext cx="151034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sz="800" i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Fonte: ISTAT dicembre 2021</a:t>
            </a:r>
            <a:endParaRPr lang="en-GB" sz="800" i="1" dirty="0"/>
          </a:p>
        </p:txBody>
      </p:sp>
    </p:spTree>
    <p:extLst>
      <p:ext uri="{BB962C8B-B14F-4D97-AF65-F5344CB8AC3E}">
        <p14:creationId xmlns:p14="http://schemas.microsoft.com/office/powerpoint/2010/main" val="1218900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246817-4D01-3FC9-4881-42554959DF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tangolo 5">
            <a:extLst>
              <a:ext uri="{FF2B5EF4-FFF2-40B4-BE49-F238E27FC236}">
                <a16:creationId xmlns:a16="http://schemas.microsoft.com/office/drawing/2014/main" id="{6041D249-5DB6-78A2-EF9B-365D4A4992CC}"/>
              </a:ext>
            </a:extLst>
          </p:cNvPr>
          <p:cNvSpPr/>
          <p:nvPr/>
        </p:nvSpPr>
        <p:spPr>
          <a:xfrm>
            <a:off x="4334214" y="6442017"/>
            <a:ext cx="32591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orkshop "Sostenibilità PNRR@CNR”</a:t>
            </a:r>
            <a:endParaRPr lang="en-GB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0635C602-139F-1AC9-482C-73DDCA0E0B42}"/>
              </a:ext>
            </a:extLst>
          </p:cNvPr>
          <p:cNvSpPr/>
          <p:nvPr/>
        </p:nvSpPr>
        <p:spPr>
          <a:xfrm>
            <a:off x="9761409" y="6427805"/>
            <a:ext cx="197522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isa, 10 febbraio 2025</a:t>
            </a:r>
            <a:endParaRPr lang="en-GB" sz="1400" dirty="0"/>
          </a:p>
        </p:txBody>
      </p:sp>
      <p:sp>
        <p:nvSpPr>
          <p:cNvPr id="8" name="Titolo 1">
            <a:extLst>
              <a:ext uri="{FF2B5EF4-FFF2-40B4-BE49-F238E27FC236}">
                <a16:creationId xmlns:a16="http://schemas.microsoft.com/office/drawing/2014/main" id="{1B2893F1-1256-6B27-342C-9EEDF216E5D0}"/>
              </a:ext>
            </a:extLst>
          </p:cNvPr>
          <p:cNvSpPr txBox="1">
            <a:spLocks/>
          </p:cNvSpPr>
          <p:nvPr/>
        </p:nvSpPr>
        <p:spPr>
          <a:xfrm>
            <a:off x="705995" y="2736717"/>
            <a:ext cx="10515600" cy="8314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42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zie</a:t>
            </a:r>
            <a:endParaRPr lang="en-GB" sz="42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9EFC2ACE-FB42-E28B-3F83-CF5808BB6FE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70" y="6425686"/>
            <a:ext cx="1280931" cy="340673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DA4540EF-214B-3346-1FD4-EBCCAB22C5F3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176266"/>
            <a:ext cx="11618232" cy="36000"/>
          </a:xfrm>
          <a:prstGeom prst="rect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CF95183F-80BA-DDC0-75A0-B7A0D967DFEB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286040"/>
            <a:ext cx="11618232" cy="2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308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E16FC42_0E37_4D37_AEB0_8B89DD4C6A79&quot;,&quot;SourceFullName&quot;:&quot;\\\\Users\\MarcoSpaltini\\Dropbox (DIG)\\PNRR PE-MG\\Ricerca industriale\\Ricerca settori italia 2021 v.2.xlsx&quot;,&quot;LastUpdate&quot;:&quot;2022-04-01 2:45 PM&quot;,&quot;UpdatedBy&quot;:&quot;JP217VC&quot;,&quot;IsLinked&quot;:false,&quot;IsBrokenLink&quot;:false,&quot;Type&quot;:1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778E422_D956_467C_B08D_17784C47D067&quot;,&quot;SourceFullName&quot;:&quot;\\\\Users\\MarcoSpaltini\\Dropbox (DIG)\\PNRR PE-MG\\Ricerca industriale\\Ricerca settori italia 2021 v.2.xlsx&quot;,&quot;LastUpdate&quot;:&quot;2022-04-01 2:51 PM&quot;,&quot;UpdatedBy&quot;:&quot;JP217VC&quot;,&quot;IsLinked&quot;:false,&quot;IsBrokenLink&quot;:false,&quot;Type&quot;:1}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637048354258549979">
    <a:dk1>
      <a:srgbClr val="000000"/>
    </a:dk1>
    <a:lt1>
      <a:srgbClr val="646464"/>
    </a:lt1>
    <a:dk2>
      <a:srgbClr val="FFFFFF"/>
    </a:dk2>
    <a:lt2>
      <a:srgbClr val="646464"/>
    </a:lt2>
    <a:accent1>
      <a:srgbClr val="808080"/>
    </a:accent1>
    <a:accent2>
      <a:srgbClr val="FFE600"/>
    </a:accent2>
    <a:accent3>
      <a:srgbClr val="999999"/>
    </a:accent3>
    <a:accent4>
      <a:srgbClr val="F0F0F0"/>
    </a:accent4>
    <a:accent5>
      <a:srgbClr val="00A3AE"/>
    </a:accent5>
    <a:accent6>
      <a:srgbClr val="C0C0C0"/>
    </a:accent6>
    <a:hlink>
      <a:srgbClr val="336699"/>
    </a:hlink>
    <a:folHlink>
      <a:srgbClr val="91278F"/>
    </a:folHlink>
  </a:clrScheme>
  <a:fontScheme name="637048354258549980">
    <a:majorFont>
      <a:latin typeface="EYInterstate Light"/>
      <a:ea typeface=""/>
      <a:cs typeface=""/>
    </a:majorFont>
    <a:minorFont>
      <a:latin typeface="EYInterstate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637048354258549979">
    <a:dk1>
      <a:srgbClr val="000000"/>
    </a:dk1>
    <a:lt1>
      <a:srgbClr val="646464"/>
    </a:lt1>
    <a:dk2>
      <a:srgbClr val="FFFFFF"/>
    </a:dk2>
    <a:lt2>
      <a:srgbClr val="646464"/>
    </a:lt2>
    <a:accent1>
      <a:srgbClr val="808080"/>
    </a:accent1>
    <a:accent2>
      <a:srgbClr val="FFE600"/>
    </a:accent2>
    <a:accent3>
      <a:srgbClr val="999999"/>
    </a:accent3>
    <a:accent4>
      <a:srgbClr val="F0F0F0"/>
    </a:accent4>
    <a:accent5>
      <a:srgbClr val="00A3AE"/>
    </a:accent5>
    <a:accent6>
      <a:srgbClr val="C0C0C0"/>
    </a:accent6>
    <a:hlink>
      <a:srgbClr val="336699"/>
    </a:hlink>
    <a:folHlink>
      <a:srgbClr val="91278F"/>
    </a:folHlink>
  </a:clrScheme>
  <a:fontScheme name="637048354258549980">
    <a:majorFont>
      <a:latin typeface="EYInterstate Light"/>
      <a:ea typeface=""/>
      <a:cs typeface=""/>
    </a:majorFont>
    <a:minorFont>
      <a:latin typeface="EYInterstate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BB7F39E7BF08F4EAADA0C88AEEAE940" ma:contentTypeVersion="4" ma:contentTypeDescription="Creare un nuovo documento." ma:contentTypeScope="" ma:versionID="34e94dcbc811c8749cce4ae79e3b3e94">
  <xsd:schema xmlns:xsd="http://www.w3.org/2001/XMLSchema" xmlns:xs="http://www.w3.org/2001/XMLSchema" xmlns:p="http://schemas.microsoft.com/office/2006/metadata/properties" xmlns:ns2="ffb1c537-bcb0-4162-839b-e1a37c8e79a3" targetNamespace="http://schemas.microsoft.com/office/2006/metadata/properties" ma:root="true" ma:fieldsID="9805894722fc4e84d319edf532444908" ns2:_="">
    <xsd:import namespace="ffb1c537-bcb0-4162-839b-e1a37c8e79a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b1c537-bcb0-4162-839b-e1a37c8e79a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C953AF3-C272-49DA-9694-F99EB1FF0D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b1c537-bcb0-4162-839b-e1a37c8e79a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422024D-821B-40E7-8349-B349E5E7378A}">
  <ds:schemaRefs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ffb1c537-bcb0-4162-839b-e1a37c8e79a3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A7004142-5002-4CAD-A2A9-07F2C0E7E27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61</TotalTime>
  <Words>620</Words>
  <Application>Microsoft Office PowerPoint</Application>
  <PresentationFormat>Widescreen</PresentationFormat>
  <Paragraphs>236</Paragraphs>
  <Slides>7</Slides>
  <Notes>6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7</vt:i4>
      </vt:variant>
    </vt:vector>
  </HeadingPairs>
  <TitlesOfParts>
    <vt:vector size="12" baseType="lpstr">
      <vt:lpstr>Aptos</vt:lpstr>
      <vt:lpstr>Aptos Display</vt:lpstr>
      <vt:lpstr>Arial</vt:lpstr>
      <vt:lpstr>Calibri</vt:lpstr>
      <vt:lpstr>Tema di Office</vt:lpstr>
      <vt:lpstr>Materiali e processi innovativi da fonti residuali e non-critiche, per lo sviluppo di una economia e di un sistema industriale italiano verde, sostenibile e circolar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gregazione (ipotesi di aggregazione  scientifica di progettualità PNRR in essere)</dc:title>
  <dc:creator>LAURA RAGAZZI</dc:creator>
  <cp:lastModifiedBy>Pierluigi</cp:lastModifiedBy>
  <cp:revision>117</cp:revision>
  <dcterms:created xsi:type="dcterms:W3CDTF">2024-12-30T12:13:18Z</dcterms:created>
  <dcterms:modified xsi:type="dcterms:W3CDTF">2025-02-09T11:54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BB7F39E7BF08F4EAADA0C88AEEAE940</vt:lpwstr>
  </property>
</Properties>
</file>